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handoutMasterIdLst>
    <p:handoutMasterId r:id="rId4"/>
  </p:handoutMasterIdLst>
  <p:sldIdLst>
    <p:sldId id="354" r:id="rId2"/>
  </p:sldIdLst>
  <p:sldSz cx="9906000" cy="6858000" type="A4"/>
  <p:notesSz cx="6797675" cy="9874250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143" userDrawn="1">
          <p15:clr>
            <a:srgbClr val="A4A3A4"/>
          </p15:clr>
        </p15:guide>
        <p15:guide id="2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6464"/>
    <a:srgbClr val="7A1600"/>
    <a:srgbClr val="DAFEFB"/>
    <a:srgbClr val="3C3C3C"/>
    <a:srgbClr val="00B050"/>
    <a:srgbClr val="506A1A"/>
    <a:srgbClr val="18A7B5"/>
    <a:srgbClr val="FFDCD5"/>
    <a:srgbClr val="000000"/>
    <a:srgbClr val="BC2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918" autoAdjust="0"/>
    <p:restoredTop sz="85884" autoAdjust="0"/>
  </p:normalViewPr>
  <p:slideViewPr>
    <p:cSldViewPr snapToGrid="0" showGuides="1">
      <p:cViewPr varScale="1">
        <p:scale>
          <a:sx n="164" d="100"/>
          <a:sy n="164" d="100"/>
        </p:scale>
        <p:origin x="1480" y="104"/>
      </p:cViewPr>
      <p:guideLst>
        <p:guide pos="3143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400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B3C48CE2-B2AA-4734-A9B1-164B1D00BC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015B2BD-2E3B-4597-9991-118A02BF4A2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60EC19-41FC-4F5E-B4E3-0DAF8E989B34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3F5872EB-0697-4EBC-91A9-52046B8CA65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DE34F59-3F7A-4021-B5BE-E0B3ACF8CDD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9665B6-C381-47B8-AD37-9D56869EC6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165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C22204-3CFA-4E44-B491-2E252A96C6BB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1233488"/>
            <a:ext cx="481330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A6CE68-A96E-4537-83B7-4E3F41E160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8430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9737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0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6"/>
          <a:srcRect l="-68180" r="799" b="553"/>
          <a:stretch/>
        </p:blipFill>
        <p:spPr>
          <a:xfrm>
            <a:off x="0" y="0"/>
            <a:ext cx="9906000" cy="6858000"/>
          </a:xfrm>
          <a:custGeom>
            <a:avLst/>
            <a:gdLst>
              <a:gd name="connsiteX0" fmla="*/ 5907485 w 9906000"/>
              <a:gd name="connsiteY0" fmla="*/ 0 h 6858000"/>
              <a:gd name="connsiteX1" fmla="*/ 9906000 w 9906000"/>
              <a:gd name="connsiteY1" fmla="*/ 0 h 6858000"/>
              <a:gd name="connsiteX2" fmla="*/ 9906000 w 9906000"/>
              <a:gd name="connsiteY2" fmla="*/ 6858000 h 6858000"/>
              <a:gd name="connsiteX3" fmla="*/ 4378205 w 9906000"/>
              <a:gd name="connsiteY3" fmla="*/ 6858000 h 6858000"/>
              <a:gd name="connsiteX4" fmla="*/ 6922857 w 9906000"/>
              <a:gd name="connsiteY4" fmla="*/ 1939881 h 6858000"/>
              <a:gd name="connsiteX5" fmla="*/ 0 w 9906000"/>
              <a:gd name="connsiteY5" fmla="*/ 0 h 6858000"/>
              <a:gd name="connsiteX6" fmla="*/ 744192 w 9906000"/>
              <a:gd name="connsiteY6" fmla="*/ 0 h 6858000"/>
              <a:gd name="connsiteX7" fmla="*/ 1701446 w 9906000"/>
              <a:gd name="connsiteY7" fmla="*/ 0 h 6858000"/>
              <a:gd name="connsiteX8" fmla="*/ 4035053 w 9906000"/>
              <a:gd name="connsiteY8" fmla="*/ 0 h 6858000"/>
              <a:gd name="connsiteX9" fmla="*/ 4035053 w 9906000"/>
              <a:gd name="connsiteY9" fmla="*/ 6858000 h 6858000"/>
              <a:gd name="connsiteX10" fmla="*/ 1701446 w 9906000"/>
              <a:gd name="connsiteY10" fmla="*/ 6858000 h 6858000"/>
              <a:gd name="connsiteX11" fmla="*/ 744192 w 9906000"/>
              <a:gd name="connsiteY11" fmla="*/ 6858000 h 6858000"/>
              <a:gd name="connsiteX12" fmla="*/ 0 w 9906000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06000" h="6858000">
                <a:moveTo>
                  <a:pt x="5907485" y="0"/>
                </a:moveTo>
                <a:lnTo>
                  <a:pt x="9906000" y="0"/>
                </a:lnTo>
                <a:lnTo>
                  <a:pt x="9906000" y="6858000"/>
                </a:lnTo>
                <a:lnTo>
                  <a:pt x="4378205" y="6858000"/>
                </a:lnTo>
                <a:lnTo>
                  <a:pt x="6922857" y="1939881"/>
                </a:lnTo>
                <a:close/>
                <a:moveTo>
                  <a:pt x="0" y="0"/>
                </a:moveTo>
                <a:lnTo>
                  <a:pt x="744192" y="0"/>
                </a:lnTo>
                <a:lnTo>
                  <a:pt x="1701446" y="0"/>
                </a:lnTo>
                <a:lnTo>
                  <a:pt x="4035053" y="0"/>
                </a:lnTo>
                <a:lnTo>
                  <a:pt x="4035053" y="6858000"/>
                </a:lnTo>
                <a:lnTo>
                  <a:pt x="1701446" y="6858000"/>
                </a:lnTo>
                <a:lnTo>
                  <a:pt x="744192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0" name="Полилиния: фигура 8">
            <a:extLst>
              <a:ext uri="{FF2B5EF4-FFF2-40B4-BE49-F238E27FC236}">
                <a16:creationId xmlns:a16="http://schemas.microsoft.com/office/drawing/2014/main" id="{E1310614-0745-4415-A3D8-E077F23C3A49}"/>
              </a:ext>
            </a:extLst>
          </p:cNvPr>
          <p:cNvSpPr>
            <a:spLocks/>
          </p:cNvSpPr>
          <p:nvPr userDrawn="1"/>
        </p:nvSpPr>
        <p:spPr bwMode="auto">
          <a:xfrm>
            <a:off x="4901629" y="0"/>
            <a:ext cx="4370032" cy="6858000"/>
          </a:xfrm>
          <a:custGeom>
            <a:avLst/>
            <a:gdLst>
              <a:gd name="connsiteX0" fmla="*/ 1532004 w 4370032"/>
              <a:gd name="connsiteY0" fmla="*/ 0 h 6862444"/>
              <a:gd name="connsiteX1" fmla="*/ 3377070 w 4370032"/>
              <a:gd name="connsiteY1" fmla="*/ 0 h 6862444"/>
              <a:gd name="connsiteX2" fmla="*/ 4370032 w 4370032"/>
              <a:gd name="connsiteY2" fmla="*/ 1941138 h 6862444"/>
              <a:gd name="connsiteX3" fmla="*/ 1881542 w 4370032"/>
              <a:gd name="connsiteY3" fmla="*/ 6862444 h 6862444"/>
              <a:gd name="connsiteX4" fmla="*/ 0 w 4370032"/>
              <a:gd name="connsiteY4" fmla="*/ 6862444 h 6862444"/>
              <a:gd name="connsiteX5" fmla="*/ 2549185 w 4370032"/>
              <a:gd name="connsiteY5" fmla="*/ 1941138 h 6862444"/>
              <a:gd name="connsiteX6" fmla="*/ 1532004 w 4370032"/>
              <a:gd name="connsiteY6" fmla="*/ 0 h 686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70032" h="6862444">
                <a:moveTo>
                  <a:pt x="1532004" y="0"/>
                </a:moveTo>
                <a:lnTo>
                  <a:pt x="3377070" y="0"/>
                </a:lnTo>
                <a:lnTo>
                  <a:pt x="4370032" y="1941138"/>
                </a:lnTo>
                <a:lnTo>
                  <a:pt x="1881542" y="6862444"/>
                </a:lnTo>
                <a:lnTo>
                  <a:pt x="0" y="6862444"/>
                </a:lnTo>
                <a:lnTo>
                  <a:pt x="2549185" y="1941138"/>
                </a:lnTo>
                <a:lnTo>
                  <a:pt x="1532004" y="0"/>
                </a:lnTo>
                <a:close/>
              </a:path>
            </a:pathLst>
          </a:custGeom>
          <a:solidFill>
            <a:srgbClr val="50000F">
              <a:alpha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1" name="Полилиния: фигура 34">
            <a:extLst>
              <a:ext uri="{FF2B5EF4-FFF2-40B4-BE49-F238E27FC236}">
                <a16:creationId xmlns:a16="http://schemas.microsoft.com/office/drawing/2014/main" id="{CD48880F-D888-4138-B48F-7F102AB49385}"/>
              </a:ext>
            </a:extLst>
          </p:cNvPr>
          <p:cNvSpPr>
            <a:spLocks/>
          </p:cNvSpPr>
          <p:nvPr userDrawn="1"/>
        </p:nvSpPr>
        <p:spPr bwMode="auto">
          <a:xfrm>
            <a:off x="5447857" y="0"/>
            <a:ext cx="2729790" cy="6858000"/>
          </a:xfrm>
          <a:custGeom>
            <a:avLst/>
            <a:gdLst>
              <a:gd name="connsiteX0" fmla="*/ 1495528 w 2729790"/>
              <a:gd name="connsiteY0" fmla="*/ 0 h 6862444"/>
              <a:gd name="connsiteX1" fmla="*/ 1736828 w 2729790"/>
              <a:gd name="connsiteY1" fmla="*/ 0 h 6862444"/>
              <a:gd name="connsiteX2" fmla="*/ 2729790 w 2729790"/>
              <a:gd name="connsiteY2" fmla="*/ 1941138 h 6862444"/>
              <a:gd name="connsiteX3" fmla="*/ 241300 w 2729790"/>
              <a:gd name="connsiteY3" fmla="*/ 6862444 h 6862444"/>
              <a:gd name="connsiteX4" fmla="*/ 0 w 2729790"/>
              <a:gd name="connsiteY4" fmla="*/ 6862444 h 6862444"/>
              <a:gd name="connsiteX5" fmla="*/ 2488490 w 2729790"/>
              <a:gd name="connsiteY5" fmla="*/ 1941138 h 6862444"/>
              <a:gd name="connsiteX6" fmla="*/ 1495528 w 2729790"/>
              <a:gd name="connsiteY6" fmla="*/ 0 h 686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29790" h="6862444">
                <a:moveTo>
                  <a:pt x="1495528" y="0"/>
                </a:moveTo>
                <a:lnTo>
                  <a:pt x="1736828" y="0"/>
                </a:lnTo>
                <a:lnTo>
                  <a:pt x="2729790" y="1941138"/>
                </a:lnTo>
                <a:lnTo>
                  <a:pt x="241300" y="6862444"/>
                </a:lnTo>
                <a:lnTo>
                  <a:pt x="0" y="6862444"/>
                </a:lnTo>
                <a:lnTo>
                  <a:pt x="2488490" y="1941138"/>
                </a:lnTo>
                <a:lnTo>
                  <a:pt x="1495528" y="0"/>
                </a:lnTo>
                <a:close/>
              </a:path>
            </a:pathLst>
          </a:cu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2" name="Полилиния: фигура 36">
            <a:extLst>
              <a:ext uri="{FF2B5EF4-FFF2-40B4-BE49-F238E27FC236}">
                <a16:creationId xmlns:a16="http://schemas.microsoft.com/office/drawing/2014/main" id="{E63796D4-9915-4BF8-B01D-49DC7461A81A}"/>
              </a:ext>
            </a:extLst>
          </p:cNvPr>
          <p:cNvSpPr>
            <a:spLocks/>
          </p:cNvSpPr>
          <p:nvPr userDrawn="1"/>
        </p:nvSpPr>
        <p:spPr bwMode="auto">
          <a:xfrm>
            <a:off x="6782152" y="0"/>
            <a:ext cx="2602790" cy="6858000"/>
          </a:xfrm>
          <a:custGeom>
            <a:avLst/>
            <a:gdLst>
              <a:gd name="connsiteX0" fmla="*/ 1495528 w 2602790"/>
              <a:gd name="connsiteY0" fmla="*/ 0 h 6862444"/>
              <a:gd name="connsiteX1" fmla="*/ 1609828 w 2602790"/>
              <a:gd name="connsiteY1" fmla="*/ 0 h 6862444"/>
              <a:gd name="connsiteX2" fmla="*/ 2602790 w 2602790"/>
              <a:gd name="connsiteY2" fmla="*/ 1941138 h 6862444"/>
              <a:gd name="connsiteX3" fmla="*/ 114300 w 2602790"/>
              <a:gd name="connsiteY3" fmla="*/ 6862444 h 6862444"/>
              <a:gd name="connsiteX4" fmla="*/ 0 w 2602790"/>
              <a:gd name="connsiteY4" fmla="*/ 6862444 h 6862444"/>
              <a:gd name="connsiteX5" fmla="*/ 2488490 w 2602790"/>
              <a:gd name="connsiteY5" fmla="*/ 1941138 h 6862444"/>
              <a:gd name="connsiteX6" fmla="*/ 1495528 w 2602790"/>
              <a:gd name="connsiteY6" fmla="*/ 0 h 686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2790" h="6862444">
                <a:moveTo>
                  <a:pt x="1495528" y="0"/>
                </a:moveTo>
                <a:lnTo>
                  <a:pt x="1609828" y="0"/>
                </a:lnTo>
                <a:lnTo>
                  <a:pt x="2602790" y="1941138"/>
                </a:lnTo>
                <a:lnTo>
                  <a:pt x="114300" y="6862444"/>
                </a:lnTo>
                <a:lnTo>
                  <a:pt x="0" y="6862444"/>
                </a:lnTo>
                <a:lnTo>
                  <a:pt x="2488490" y="1941138"/>
                </a:lnTo>
                <a:lnTo>
                  <a:pt x="1495528" y="0"/>
                </a:lnTo>
                <a:close/>
              </a:path>
            </a:pathLst>
          </a:custGeom>
          <a:solidFill>
            <a:srgbClr val="5E5E5E">
              <a:alpha val="3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8" name="Полилиния: фигура 50">
            <a:extLst>
              <a:ext uri="{FF2B5EF4-FFF2-40B4-BE49-F238E27FC236}">
                <a16:creationId xmlns:a16="http://schemas.microsoft.com/office/drawing/2014/main" id="{F0141FD3-AA47-4F72-8AEE-E30B6B68F968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6922857" cy="6858000"/>
          </a:xfrm>
          <a:custGeom>
            <a:avLst/>
            <a:gdLst>
              <a:gd name="connsiteX0" fmla="*/ 0 w 6922857"/>
              <a:gd name="connsiteY0" fmla="*/ 0 h 6858000"/>
              <a:gd name="connsiteX1" fmla="*/ 744192 w 6922857"/>
              <a:gd name="connsiteY1" fmla="*/ 0 h 6858000"/>
              <a:gd name="connsiteX2" fmla="*/ 1701446 w 6922857"/>
              <a:gd name="connsiteY2" fmla="*/ 0 h 6858000"/>
              <a:gd name="connsiteX3" fmla="*/ 5907485 w 6922857"/>
              <a:gd name="connsiteY3" fmla="*/ 0 h 6858000"/>
              <a:gd name="connsiteX4" fmla="*/ 6922857 w 6922857"/>
              <a:gd name="connsiteY4" fmla="*/ 1939881 h 6858000"/>
              <a:gd name="connsiteX5" fmla="*/ 4378205 w 6922857"/>
              <a:gd name="connsiteY5" fmla="*/ 6858000 h 6858000"/>
              <a:gd name="connsiteX6" fmla="*/ 1701446 w 6922857"/>
              <a:gd name="connsiteY6" fmla="*/ 6858000 h 6858000"/>
              <a:gd name="connsiteX7" fmla="*/ 744192 w 6922857"/>
              <a:gd name="connsiteY7" fmla="*/ 6858000 h 6858000"/>
              <a:gd name="connsiteX8" fmla="*/ 0 w 6922857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22857" h="6858000">
                <a:moveTo>
                  <a:pt x="0" y="0"/>
                </a:moveTo>
                <a:lnTo>
                  <a:pt x="744192" y="0"/>
                </a:lnTo>
                <a:lnTo>
                  <a:pt x="1701446" y="0"/>
                </a:lnTo>
                <a:lnTo>
                  <a:pt x="5907485" y="0"/>
                </a:lnTo>
                <a:lnTo>
                  <a:pt x="6922857" y="1939881"/>
                </a:lnTo>
                <a:lnTo>
                  <a:pt x="4378205" y="6858000"/>
                </a:lnTo>
                <a:lnTo>
                  <a:pt x="1701446" y="6858000"/>
                </a:lnTo>
                <a:lnTo>
                  <a:pt x="7441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CECEC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4273" y="2466559"/>
            <a:ext cx="4779963" cy="400110"/>
          </a:xfrm>
        </p:spPr>
        <p:txBody>
          <a:bodyPr wrap="square" anchor="ctr" anchorCtr="0">
            <a:spAutoFit/>
          </a:bodyPr>
          <a:lstStyle>
            <a:lvl1pPr algn="l">
              <a:defRPr sz="26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grpSp>
        <p:nvGrpSpPr>
          <p:cNvPr id="98" name="Группа 65">
            <a:extLst>
              <a:ext uri="{FF2B5EF4-FFF2-40B4-BE49-F238E27FC236}">
                <a16:creationId xmlns:a16="http://schemas.microsoft.com/office/drawing/2014/main" id="{20FCA20F-E43E-4573-928D-8E131FEEEA8E}"/>
              </a:ext>
            </a:extLst>
          </p:cNvPr>
          <p:cNvGrpSpPr/>
          <p:nvPr userDrawn="1"/>
        </p:nvGrpSpPr>
        <p:grpSpPr>
          <a:xfrm>
            <a:off x="394273" y="160255"/>
            <a:ext cx="2419251" cy="239156"/>
            <a:chOff x="251522" y="908720"/>
            <a:chExt cx="4301712" cy="456282"/>
          </a:xfrm>
        </p:grpSpPr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id="{1819A19D-2A86-45A3-BE54-0BBEFC9F3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522" y="972020"/>
              <a:ext cx="189898" cy="261110"/>
            </a:xfrm>
            <a:custGeom>
              <a:avLst/>
              <a:gdLst>
                <a:gd name="T0" fmla="*/ 79 w 113"/>
                <a:gd name="T1" fmla="*/ 30 h 157"/>
                <a:gd name="T2" fmla="*/ 60 w 113"/>
                <a:gd name="T3" fmla="*/ 26 h 157"/>
                <a:gd name="T4" fmla="*/ 35 w 113"/>
                <a:gd name="T5" fmla="*/ 46 h 157"/>
                <a:gd name="T6" fmla="*/ 54 w 113"/>
                <a:gd name="T7" fmla="*/ 63 h 157"/>
                <a:gd name="T8" fmla="*/ 72 w 113"/>
                <a:gd name="T9" fmla="*/ 66 h 157"/>
                <a:gd name="T10" fmla="*/ 113 w 113"/>
                <a:gd name="T11" fmla="*/ 110 h 157"/>
                <a:gd name="T12" fmla="*/ 54 w 113"/>
                <a:gd name="T13" fmla="*/ 157 h 157"/>
                <a:gd name="T14" fmla="*/ 21 w 113"/>
                <a:gd name="T15" fmla="*/ 151 h 157"/>
                <a:gd name="T16" fmla="*/ 0 w 113"/>
                <a:gd name="T17" fmla="*/ 137 h 157"/>
                <a:gd name="T18" fmla="*/ 19 w 113"/>
                <a:gd name="T19" fmla="*/ 117 h 157"/>
                <a:gd name="T20" fmla="*/ 33 w 113"/>
                <a:gd name="T21" fmla="*/ 126 h 157"/>
                <a:gd name="T22" fmla="*/ 56 w 113"/>
                <a:gd name="T23" fmla="*/ 130 h 157"/>
                <a:gd name="T24" fmla="*/ 84 w 113"/>
                <a:gd name="T25" fmla="*/ 111 h 157"/>
                <a:gd name="T26" fmla="*/ 65 w 113"/>
                <a:gd name="T27" fmla="*/ 92 h 157"/>
                <a:gd name="T28" fmla="*/ 47 w 113"/>
                <a:gd name="T29" fmla="*/ 90 h 157"/>
                <a:gd name="T30" fmla="*/ 6 w 113"/>
                <a:gd name="T31" fmla="*/ 47 h 157"/>
                <a:gd name="T32" fmla="*/ 61 w 113"/>
                <a:gd name="T33" fmla="*/ 0 h 157"/>
                <a:gd name="T34" fmla="*/ 90 w 113"/>
                <a:gd name="T35" fmla="*/ 5 h 157"/>
                <a:gd name="T36" fmla="*/ 109 w 113"/>
                <a:gd name="T37" fmla="*/ 18 h 157"/>
                <a:gd name="T38" fmla="*/ 90 w 113"/>
                <a:gd name="T39" fmla="*/ 37 h 157"/>
                <a:gd name="T40" fmla="*/ 79 w 113"/>
                <a:gd name="T41" fmla="*/ 3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157">
                  <a:moveTo>
                    <a:pt x="79" y="30"/>
                  </a:moveTo>
                  <a:cubicBezTo>
                    <a:pt x="73" y="28"/>
                    <a:pt x="67" y="26"/>
                    <a:pt x="60" y="26"/>
                  </a:cubicBezTo>
                  <a:cubicBezTo>
                    <a:pt x="44" y="26"/>
                    <a:pt x="35" y="33"/>
                    <a:pt x="35" y="46"/>
                  </a:cubicBezTo>
                  <a:cubicBezTo>
                    <a:pt x="35" y="55"/>
                    <a:pt x="42" y="61"/>
                    <a:pt x="54" y="63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100" y="70"/>
                    <a:pt x="113" y="83"/>
                    <a:pt x="113" y="110"/>
                  </a:cubicBezTo>
                  <a:cubicBezTo>
                    <a:pt x="113" y="139"/>
                    <a:pt x="91" y="157"/>
                    <a:pt x="54" y="157"/>
                  </a:cubicBezTo>
                  <a:cubicBezTo>
                    <a:pt x="42" y="157"/>
                    <a:pt x="30" y="155"/>
                    <a:pt x="21" y="151"/>
                  </a:cubicBezTo>
                  <a:cubicBezTo>
                    <a:pt x="13" y="148"/>
                    <a:pt x="9" y="145"/>
                    <a:pt x="0" y="137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25" y="122"/>
                    <a:pt x="27" y="124"/>
                    <a:pt x="33" y="126"/>
                  </a:cubicBezTo>
                  <a:cubicBezTo>
                    <a:pt x="40" y="129"/>
                    <a:pt x="47" y="130"/>
                    <a:pt x="56" y="130"/>
                  </a:cubicBezTo>
                  <a:cubicBezTo>
                    <a:pt x="74" y="130"/>
                    <a:pt x="84" y="124"/>
                    <a:pt x="84" y="111"/>
                  </a:cubicBezTo>
                  <a:cubicBezTo>
                    <a:pt x="84" y="100"/>
                    <a:pt x="78" y="94"/>
                    <a:pt x="65" y="92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20" y="86"/>
                    <a:pt x="6" y="72"/>
                    <a:pt x="6" y="47"/>
                  </a:cubicBezTo>
                  <a:cubicBezTo>
                    <a:pt x="6" y="18"/>
                    <a:pt x="27" y="0"/>
                    <a:pt x="61" y="0"/>
                  </a:cubicBezTo>
                  <a:cubicBezTo>
                    <a:pt x="71" y="0"/>
                    <a:pt x="81" y="2"/>
                    <a:pt x="90" y="5"/>
                  </a:cubicBezTo>
                  <a:cubicBezTo>
                    <a:pt x="97" y="8"/>
                    <a:pt x="101" y="11"/>
                    <a:pt x="109" y="18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85" y="33"/>
                    <a:pt x="83" y="31"/>
                    <a:pt x="79" y="30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id="{C1CF64DA-B0F0-4EC0-A26F-2A1800AEE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431" y="993120"/>
              <a:ext cx="100223" cy="240010"/>
            </a:xfrm>
            <a:custGeom>
              <a:avLst/>
              <a:gdLst>
                <a:gd name="T0" fmla="*/ 45 w 60"/>
                <a:gd name="T1" fmla="*/ 143 h 143"/>
                <a:gd name="T2" fmla="*/ 12 w 60"/>
                <a:gd name="T3" fmla="*/ 110 h 143"/>
                <a:gd name="T4" fmla="*/ 12 w 60"/>
                <a:gd name="T5" fmla="*/ 54 h 143"/>
                <a:gd name="T6" fmla="*/ 0 w 60"/>
                <a:gd name="T7" fmla="*/ 54 h 143"/>
                <a:gd name="T8" fmla="*/ 0 w 60"/>
                <a:gd name="T9" fmla="*/ 33 h 143"/>
                <a:gd name="T10" fmla="*/ 12 w 60"/>
                <a:gd name="T11" fmla="*/ 33 h 143"/>
                <a:gd name="T12" fmla="*/ 12 w 60"/>
                <a:gd name="T13" fmla="*/ 0 h 143"/>
                <a:gd name="T14" fmla="*/ 40 w 60"/>
                <a:gd name="T15" fmla="*/ 0 h 143"/>
                <a:gd name="T16" fmla="*/ 40 w 60"/>
                <a:gd name="T17" fmla="*/ 33 h 143"/>
                <a:gd name="T18" fmla="*/ 60 w 60"/>
                <a:gd name="T19" fmla="*/ 33 h 143"/>
                <a:gd name="T20" fmla="*/ 60 w 60"/>
                <a:gd name="T21" fmla="*/ 54 h 143"/>
                <a:gd name="T22" fmla="*/ 40 w 60"/>
                <a:gd name="T23" fmla="*/ 54 h 143"/>
                <a:gd name="T24" fmla="*/ 40 w 60"/>
                <a:gd name="T25" fmla="*/ 109 h 143"/>
                <a:gd name="T26" fmla="*/ 50 w 60"/>
                <a:gd name="T27" fmla="*/ 119 h 143"/>
                <a:gd name="T28" fmla="*/ 60 w 60"/>
                <a:gd name="T29" fmla="*/ 119 h 143"/>
                <a:gd name="T30" fmla="*/ 60 w 60"/>
                <a:gd name="T31" fmla="*/ 143 h 143"/>
                <a:gd name="T32" fmla="*/ 45 w 60"/>
                <a:gd name="T3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43">
                  <a:moveTo>
                    <a:pt x="45" y="143"/>
                  </a:moveTo>
                  <a:cubicBezTo>
                    <a:pt x="25" y="143"/>
                    <a:pt x="12" y="130"/>
                    <a:pt x="12" y="110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40" y="115"/>
                    <a:pt x="43" y="119"/>
                    <a:pt x="50" y="119"/>
                  </a:cubicBezTo>
                  <a:cubicBezTo>
                    <a:pt x="60" y="119"/>
                    <a:pt x="60" y="119"/>
                    <a:pt x="60" y="119"/>
                  </a:cubicBezTo>
                  <a:cubicBezTo>
                    <a:pt x="60" y="143"/>
                    <a:pt x="60" y="143"/>
                    <a:pt x="60" y="143"/>
                  </a:cubicBezTo>
                  <a:lnTo>
                    <a:pt x="45" y="143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id="{DE054160-5DFF-4685-A458-C607AE709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856" y="1040594"/>
              <a:ext cx="137148" cy="192535"/>
            </a:xfrm>
            <a:custGeom>
              <a:avLst/>
              <a:gdLst>
                <a:gd name="T0" fmla="*/ 61 w 82"/>
                <a:gd name="T1" fmla="*/ 32 h 114"/>
                <a:gd name="T2" fmla="*/ 46 w 82"/>
                <a:gd name="T3" fmla="*/ 25 h 114"/>
                <a:gd name="T4" fmla="*/ 28 w 82"/>
                <a:gd name="T5" fmla="*/ 46 h 114"/>
                <a:gd name="T6" fmla="*/ 28 w 82"/>
                <a:gd name="T7" fmla="*/ 114 h 114"/>
                <a:gd name="T8" fmla="*/ 0 w 82"/>
                <a:gd name="T9" fmla="*/ 114 h 114"/>
                <a:gd name="T10" fmla="*/ 0 w 82"/>
                <a:gd name="T11" fmla="*/ 1 h 114"/>
                <a:gd name="T12" fmla="*/ 27 w 82"/>
                <a:gd name="T13" fmla="*/ 1 h 114"/>
                <a:gd name="T14" fmla="*/ 27 w 82"/>
                <a:gd name="T15" fmla="*/ 12 h 114"/>
                <a:gd name="T16" fmla="*/ 38 w 82"/>
                <a:gd name="T17" fmla="*/ 3 h 114"/>
                <a:gd name="T18" fmla="*/ 56 w 82"/>
                <a:gd name="T19" fmla="*/ 0 h 114"/>
                <a:gd name="T20" fmla="*/ 71 w 82"/>
                <a:gd name="T21" fmla="*/ 2 h 114"/>
                <a:gd name="T22" fmla="*/ 82 w 82"/>
                <a:gd name="T23" fmla="*/ 10 h 114"/>
                <a:gd name="T24" fmla="*/ 61 w 82"/>
                <a:gd name="T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114">
                  <a:moveTo>
                    <a:pt x="61" y="32"/>
                  </a:moveTo>
                  <a:cubicBezTo>
                    <a:pt x="56" y="27"/>
                    <a:pt x="52" y="25"/>
                    <a:pt x="46" y="25"/>
                  </a:cubicBezTo>
                  <a:cubicBezTo>
                    <a:pt x="35" y="25"/>
                    <a:pt x="28" y="33"/>
                    <a:pt x="28" y="46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31" y="7"/>
                    <a:pt x="33" y="6"/>
                    <a:pt x="38" y="3"/>
                  </a:cubicBezTo>
                  <a:cubicBezTo>
                    <a:pt x="44" y="1"/>
                    <a:pt x="50" y="0"/>
                    <a:pt x="56" y="0"/>
                  </a:cubicBezTo>
                  <a:cubicBezTo>
                    <a:pt x="61" y="0"/>
                    <a:pt x="66" y="0"/>
                    <a:pt x="71" y="2"/>
                  </a:cubicBezTo>
                  <a:cubicBezTo>
                    <a:pt x="75" y="4"/>
                    <a:pt x="77" y="6"/>
                    <a:pt x="82" y="10"/>
                  </a:cubicBezTo>
                  <a:lnTo>
                    <a:pt x="61" y="32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id="{F7E97F31-47EF-4F76-989A-A85A0E41A6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0554" y="1040594"/>
              <a:ext cx="152973" cy="192535"/>
            </a:xfrm>
            <a:custGeom>
              <a:avLst/>
              <a:gdLst>
                <a:gd name="T0" fmla="*/ 66 w 93"/>
                <a:gd name="T1" fmla="*/ 114 h 115"/>
                <a:gd name="T2" fmla="*/ 66 w 93"/>
                <a:gd name="T3" fmla="*/ 104 h 115"/>
                <a:gd name="T4" fmla="*/ 54 w 93"/>
                <a:gd name="T5" fmla="*/ 112 h 115"/>
                <a:gd name="T6" fmla="*/ 38 w 93"/>
                <a:gd name="T7" fmla="*/ 115 h 115"/>
                <a:gd name="T8" fmla="*/ 0 w 93"/>
                <a:gd name="T9" fmla="*/ 80 h 115"/>
                <a:gd name="T10" fmla="*/ 39 w 93"/>
                <a:gd name="T11" fmla="*/ 47 h 115"/>
                <a:gd name="T12" fmla="*/ 65 w 93"/>
                <a:gd name="T13" fmla="*/ 47 h 115"/>
                <a:gd name="T14" fmla="*/ 65 w 93"/>
                <a:gd name="T15" fmla="*/ 41 h 115"/>
                <a:gd name="T16" fmla="*/ 44 w 93"/>
                <a:gd name="T17" fmla="*/ 23 h 115"/>
                <a:gd name="T18" fmla="*/ 23 w 93"/>
                <a:gd name="T19" fmla="*/ 33 h 115"/>
                <a:gd name="T20" fmla="*/ 5 w 93"/>
                <a:gd name="T21" fmla="*/ 15 h 115"/>
                <a:gd name="T22" fmla="*/ 20 w 93"/>
                <a:gd name="T23" fmla="*/ 4 h 115"/>
                <a:gd name="T24" fmla="*/ 45 w 93"/>
                <a:gd name="T25" fmla="*/ 0 h 115"/>
                <a:gd name="T26" fmla="*/ 93 w 93"/>
                <a:gd name="T27" fmla="*/ 39 h 115"/>
                <a:gd name="T28" fmla="*/ 93 w 93"/>
                <a:gd name="T29" fmla="*/ 114 h 115"/>
                <a:gd name="T30" fmla="*/ 66 w 93"/>
                <a:gd name="T31" fmla="*/ 114 h 115"/>
                <a:gd name="T32" fmla="*/ 43 w 93"/>
                <a:gd name="T33" fmla="*/ 66 h 115"/>
                <a:gd name="T34" fmla="*/ 27 w 93"/>
                <a:gd name="T35" fmla="*/ 79 h 115"/>
                <a:gd name="T36" fmla="*/ 45 w 93"/>
                <a:gd name="T37" fmla="*/ 92 h 115"/>
                <a:gd name="T38" fmla="*/ 65 w 93"/>
                <a:gd name="T39" fmla="*/ 72 h 115"/>
                <a:gd name="T40" fmla="*/ 65 w 93"/>
                <a:gd name="T41" fmla="*/ 66 h 115"/>
                <a:gd name="T42" fmla="*/ 43 w 93"/>
                <a:gd name="T43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115">
                  <a:moveTo>
                    <a:pt x="66" y="114"/>
                  </a:moveTo>
                  <a:cubicBezTo>
                    <a:pt x="66" y="104"/>
                    <a:pt x="66" y="104"/>
                    <a:pt x="66" y="104"/>
                  </a:cubicBezTo>
                  <a:cubicBezTo>
                    <a:pt x="61" y="109"/>
                    <a:pt x="58" y="110"/>
                    <a:pt x="54" y="112"/>
                  </a:cubicBezTo>
                  <a:cubicBezTo>
                    <a:pt x="50" y="114"/>
                    <a:pt x="45" y="115"/>
                    <a:pt x="38" y="115"/>
                  </a:cubicBezTo>
                  <a:cubicBezTo>
                    <a:pt x="14" y="115"/>
                    <a:pt x="0" y="102"/>
                    <a:pt x="0" y="80"/>
                  </a:cubicBezTo>
                  <a:cubicBezTo>
                    <a:pt x="0" y="59"/>
                    <a:pt x="15" y="47"/>
                    <a:pt x="39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28"/>
                    <a:pt x="59" y="23"/>
                    <a:pt x="44" y="23"/>
                  </a:cubicBezTo>
                  <a:cubicBezTo>
                    <a:pt x="34" y="23"/>
                    <a:pt x="29" y="25"/>
                    <a:pt x="23" y="33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11" y="9"/>
                    <a:pt x="14" y="6"/>
                    <a:pt x="20" y="4"/>
                  </a:cubicBezTo>
                  <a:cubicBezTo>
                    <a:pt x="26" y="1"/>
                    <a:pt x="34" y="0"/>
                    <a:pt x="45" y="0"/>
                  </a:cubicBezTo>
                  <a:cubicBezTo>
                    <a:pt x="77" y="0"/>
                    <a:pt x="93" y="13"/>
                    <a:pt x="93" y="39"/>
                  </a:cubicBezTo>
                  <a:cubicBezTo>
                    <a:pt x="93" y="114"/>
                    <a:pt x="93" y="114"/>
                    <a:pt x="93" y="114"/>
                  </a:cubicBezTo>
                  <a:lnTo>
                    <a:pt x="66" y="114"/>
                  </a:lnTo>
                  <a:close/>
                  <a:moveTo>
                    <a:pt x="43" y="66"/>
                  </a:moveTo>
                  <a:cubicBezTo>
                    <a:pt x="33" y="66"/>
                    <a:pt x="27" y="71"/>
                    <a:pt x="27" y="79"/>
                  </a:cubicBezTo>
                  <a:cubicBezTo>
                    <a:pt x="27" y="87"/>
                    <a:pt x="33" y="92"/>
                    <a:pt x="45" y="92"/>
                  </a:cubicBezTo>
                  <a:cubicBezTo>
                    <a:pt x="59" y="92"/>
                    <a:pt x="65" y="86"/>
                    <a:pt x="65" y="72"/>
                  </a:cubicBezTo>
                  <a:cubicBezTo>
                    <a:pt x="65" y="66"/>
                    <a:pt x="65" y="66"/>
                    <a:pt x="65" y="66"/>
                  </a:cubicBezTo>
                  <a:lnTo>
                    <a:pt x="43" y="66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id="{2A5FD6A6-9DE1-4A4C-B1F5-D0045F6FB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452" y="993120"/>
              <a:ext cx="100223" cy="240010"/>
            </a:xfrm>
            <a:custGeom>
              <a:avLst/>
              <a:gdLst>
                <a:gd name="T0" fmla="*/ 45 w 60"/>
                <a:gd name="T1" fmla="*/ 143 h 143"/>
                <a:gd name="T2" fmla="*/ 12 w 60"/>
                <a:gd name="T3" fmla="*/ 110 h 143"/>
                <a:gd name="T4" fmla="*/ 12 w 60"/>
                <a:gd name="T5" fmla="*/ 54 h 143"/>
                <a:gd name="T6" fmla="*/ 0 w 60"/>
                <a:gd name="T7" fmla="*/ 54 h 143"/>
                <a:gd name="T8" fmla="*/ 0 w 60"/>
                <a:gd name="T9" fmla="*/ 33 h 143"/>
                <a:gd name="T10" fmla="*/ 12 w 60"/>
                <a:gd name="T11" fmla="*/ 33 h 143"/>
                <a:gd name="T12" fmla="*/ 12 w 60"/>
                <a:gd name="T13" fmla="*/ 0 h 143"/>
                <a:gd name="T14" fmla="*/ 40 w 60"/>
                <a:gd name="T15" fmla="*/ 0 h 143"/>
                <a:gd name="T16" fmla="*/ 40 w 60"/>
                <a:gd name="T17" fmla="*/ 33 h 143"/>
                <a:gd name="T18" fmla="*/ 60 w 60"/>
                <a:gd name="T19" fmla="*/ 33 h 143"/>
                <a:gd name="T20" fmla="*/ 60 w 60"/>
                <a:gd name="T21" fmla="*/ 54 h 143"/>
                <a:gd name="T22" fmla="*/ 40 w 60"/>
                <a:gd name="T23" fmla="*/ 54 h 143"/>
                <a:gd name="T24" fmla="*/ 40 w 60"/>
                <a:gd name="T25" fmla="*/ 109 h 143"/>
                <a:gd name="T26" fmla="*/ 50 w 60"/>
                <a:gd name="T27" fmla="*/ 119 h 143"/>
                <a:gd name="T28" fmla="*/ 60 w 60"/>
                <a:gd name="T29" fmla="*/ 119 h 143"/>
                <a:gd name="T30" fmla="*/ 60 w 60"/>
                <a:gd name="T31" fmla="*/ 143 h 143"/>
                <a:gd name="T32" fmla="*/ 45 w 60"/>
                <a:gd name="T3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43">
                  <a:moveTo>
                    <a:pt x="45" y="143"/>
                  </a:moveTo>
                  <a:cubicBezTo>
                    <a:pt x="25" y="143"/>
                    <a:pt x="12" y="130"/>
                    <a:pt x="12" y="110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40" y="115"/>
                    <a:pt x="44" y="119"/>
                    <a:pt x="50" y="119"/>
                  </a:cubicBezTo>
                  <a:cubicBezTo>
                    <a:pt x="60" y="119"/>
                    <a:pt x="60" y="119"/>
                    <a:pt x="60" y="119"/>
                  </a:cubicBezTo>
                  <a:cubicBezTo>
                    <a:pt x="60" y="143"/>
                    <a:pt x="60" y="143"/>
                    <a:pt x="60" y="143"/>
                  </a:cubicBezTo>
                  <a:lnTo>
                    <a:pt x="45" y="143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2EF32B20-FDDC-49D0-8126-AA8C548EC3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2325" y="1040594"/>
              <a:ext cx="163524" cy="192535"/>
            </a:xfrm>
            <a:custGeom>
              <a:avLst/>
              <a:gdLst>
                <a:gd name="T0" fmla="*/ 28 w 98"/>
                <a:gd name="T1" fmla="*/ 66 h 115"/>
                <a:gd name="T2" fmla="*/ 54 w 98"/>
                <a:gd name="T3" fmla="*/ 91 h 115"/>
                <a:gd name="T4" fmla="*/ 67 w 98"/>
                <a:gd name="T5" fmla="*/ 89 h 115"/>
                <a:gd name="T6" fmla="*/ 78 w 98"/>
                <a:gd name="T7" fmla="*/ 80 h 115"/>
                <a:gd name="T8" fmla="*/ 95 w 98"/>
                <a:gd name="T9" fmla="*/ 97 h 115"/>
                <a:gd name="T10" fmla="*/ 76 w 98"/>
                <a:gd name="T11" fmla="*/ 111 h 115"/>
                <a:gd name="T12" fmla="*/ 53 w 98"/>
                <a:gd name="T13" fmla="*/ 115 h 115"/>
                <a:gd name="T14" fmla="*/ 0 w 98"/>
                <a:gd name="T15" fmla="*/ 57 h 115"/>
                <a:gd name="T16" fmla="*/ 49 w 98"/>
                <a:gd name="T17" fmla="*/ 0 h 115"/>
                <a:gd name="T18" fmla="*/ 98 w 98"/>
                <a:gd name="T19" fmla="*/ 53 h 115"/>
                <a:gd name="T20" fmla="*/ 98 w 98"/>
                <a:gd name="T21" fmla="*/ 66 h 115"/>
                <a:gd name="T22" fmla="*/ 28 w 98"/>
                <a:gd name="T23" fmla="*/ 66 h 115"/>
                <a:gd name="T24" fmla="*/ 49 w 98"/>
                <a:gd name="T25" fmla="*/ 23 h 115"/>
                <a:gd name="T26" fmla="*/ 28 w 98"/>
                <a:gd name="T27" fmla="*/ 47 h 115"/>
                <a:gd name="T28" fmla="*/ 71 w 98"/>
                <a:gd name="T29" fmla="*/ 47 h 115"/>
                <a:gd name="T30" fmla="*/ 49 w 98"/>
                <a:gd name="T31" fmla="*/ 2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15">
                  <a:moveTo>
                    <a:pt x="28" y="66"/>
                  </a:moveTo>
                  <a:cubicBezTo>
                    <a:pt x="29" y="83"/>
                    <a:pt x="37" y="91"/>
                    <a:pt x="54" y="91"/>
                  </a:cubicBezTo>
                  <a:cubicBezTo>
                    <a:pt x="58" y="91"/>
                    <a:pt x="63" y="90"/>
                    <a:pt x="67" y="89"/>
                  </a:cubicBezTo>
                  <a:cubicBezTo>
                    <a:pt x="71" y="87"/>
                    <a:pt x="73" y="85"/>
                    <a:pt x="78" y="80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87" y="105"/>
                    <a:pt x="83" y="108"/>
                    <a:pt x="76" y="111"/>
                  </a:cubicBezTo>
                  <a:cubicBezTo>
                    <a:pt x="69" y="113"/>
                    <a:pt x="61" y="115"/>
                    <a:pt x="53" y="115"/>
                  </a:cubicBezTo>
                  <a:cubicBezTo>
                    <a:pt x="18" y="115"/>
                    <a:pt x="0" y="95"/>
                    <a:pt x="0" y="57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79" y="0"/>
                    <a:pt x="98" y="21"/>
                    <a:pt x="98" y="53"/>
                  </a:cubicBezTo>
                  <a:cubicBezTo>
                    <a:pt x="98" y="66"/>
                    <a:pt x="98" y="66"/>
                    <a:pt x="98" y="66"/>
                  </a:cubicBezTo>
                  <a:lnTo>
                    <a:pt x="28" y="66"/>
                  </a:lnTo>
                  <a:close/>
                  <a:moveTo>
                    <a:pt x="49" y="23"/>
                  </a:moveTo>
                  <a:cubicBezTo>
                    <a:pt x="36" y="23"/>
                    <a:pt x="29" y="32"/>
                    <a:pt x="28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0" y="31"/>
                    <a:pt x="62" y="23"/>
                    <a:pt x="49" y="23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9D7B16B3-9453-49CF-8899-BEDDF8A543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2773" y="1040594"/>
              <a:ext cx="155612" cy="261110"/>
            </a:xfrm>
            <a:custGeom>
              <a:avLst/>
              <a:gdLst>
                <a:gd name="T0" fmla="*/ 93 w 93"/>
                <a:gd name="T1" fmla="*/ 109 h 156"/>
                <a:gd name="T2" fmla="*/ 42 w 93"/>
                <a:gd name="T3" fmla="*/ 156 h 156"/>
                <a:gd name="T4" fmla="*/ 19 w 93"/>
                <a:gd name="T5" fmla="*/ 152 h 156"/>
                <a:gd name="T6" fmla="*/ 2 w 93"/>
                <a:gd name="T7" fmla="*/ 141 h 156"/>
                <a:gd name="T8" fmla="*/ 20 w 93"/>
                <a:gd name="T9" fmla="*/ 124 h 156"/>
                <a:gd name="T10" fmla="*/ 30 w 93"/>
                <a:gd name="T11" fmla="*/ 130 h 156"/>
                <a:gd name="T12" fmla="*/ 42 w 93"/>
                <a:gd name="T13" fmla="*/ 132 h 156"/>
                <a:gd name="T14" fmla="*/ 65 w 93"/>
                <a:gd name="T15" fmla="*/ 109 h 156"/>
                <a:gd name="T16" fmla="*/ 65 w 93"/>
                <a:gd name="T17" fmla="*/ 98 h 156"/>
                <a:gd name="T18" fmla="*/ 54 w 93"/>
                <a:gd name="T19" fmla="*/ 106 h 156"/>
                <a:gd name="T20" fmla="*/ 39 w 93"/>
                <a:gd name="T21" fmla="*/ 109 h 156"/>
                <a:gd name="T22" fmla="*/ 11 w 93"/>
                <a:gd name="T23" fmla="*/ 99 h 156"/>
                <a:gd name="T24" fmla="*/ 1 w 93"/>
                <a:gd name="T25" fmla="*/ 79 h 156"/>
                <a:gd name="T26" fmla="*/ 0 w 93"/>
                <a:gd name="T27" fmla="*/ 54 h 156"/>
                <a:gd name="T28" fmla="*/ 0 w 93"/>
                <a:gd name="T29" fmla="*/ 50 h 156"/>
                <a:gd name="T30" fmla="*/ 11 w 93"/>
                <a:gd name="T31" fmla="*/ 9 h 156"/>
                <a:gd name="T32" fmla="*/ 39 w 93"/>
                <a:gd name="T33" fmla="*/ 0 h 156"/>
                <a:gd name="T34" fmla="*/ 54 w 93"/>
                <a:gd name="T35" fmla="*/ 2 h 156"/>
                <a:gd name="T36" fmla="*/ 66 w 93"/>
                <a:gd name="T37" fmla="*/ 11 h 156"/>
                <a:gd name="T38" fmla="*/ 66 w 93"/>
                <a:gd name="T39" fmla="*/ 1 h 156"/>
                <a:gd name="T40" fmla="*/ 93 w 93"/>
                <a:gd name="T41" fmla="*/ 1 h 156"/>
                <a:gd name="T42" fmla="*/ 93 w 93"/>
                <a:gd name="T43" fmla="*/ 109 h 156"/>
                <a:gd name="T44" fmla="*/ 46 w 93"/>
                <a:gd name="T45" fmla="*/ 25 h 156"/>
                <a:gd name="T46" fmla="*/ 28 w 93"/>
                <a:gd name="T47" fmla="*/ 54 h 156"/>
                <a:gd name="T48" fmla="*/ 46 w 93"/>
                <a:gd name="T49" fmla="*/ 83 h 156"/>
                <a:gd name="T50" fmla="*/ 65 w 93"/>
                <a:gd name="T51" fmla="*/ 54 h 156"/>
                <a:gd name="T52" fmla="*/ 46 w 93"/>
                <a:gd name="T53" fmla="*/ 25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3" h="156">
                  <a:moveTo>
                    <a:pt x="93" y="109"/>
                  </a:moveTo>
                  <a:cubicBezTo>
                    <a:pt x="93" y="138"/>
                    <a:pt x="73" y="156"/>
                    <a:pt x="42" y="156"/>
                  </a:cubicBezTo>
                  <a:cubicBezTo>
                    <a:pt x="33" y="156"/>
                    <a:pt x="25" y="155"/>
                    <a:pt x="19" y="152"/>
                  </a:cubicBezTo>
                  <a:cubicBezTo>
                    <a:pt x="13" y="150"/>
                    <a:pt x="10" y="148"/>
                    <a:pt x="2" y="141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4" y="127"/>
                    <a:pt x="26" y="129"/>
                    <a:pt x="30" y="130"/>
                  </a:cubicBezTo>
                  <a:cubicBezTo>
                    <a:pt x="33" y="132"/>
                    <a:pt x="37" y="132"/>
                    <a:pt x="42" y="132"/>
                  </a:cubicBezTo>
                  <a:cubicBezTo>
                    <a:pt x="56" y="132"/>
                    <a:pt x="65" y="124"/>
                    <a:pt x="65" y="109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0" y="102"/>
                    <a:pt x="58" y="104"/>
                    <a:pt x="54" y="106"/>
                  </a:cubicBezTo>
                  <a:cubicBezTo>
                    <a:pt x="49" y="108"/>
                    <a:pt x="44" y="109"/>
                    <a:pt x="39" y="109"/>
                  </a:cubicBezTo>
                  <a:cubicBezTo>
                    <a:pt x="27" y="109"/>
                    <a:pt x="18" y="105"/>
                    <a:pt x="11" y="99"/>
                  </a:cubicBezTo>
                  <a:cubicBezTo>
                    <a:pt x="6" y="94"/>
                    <a:pt x="2" y="86"/>
                    <a:pt x="1" y="79"/>
                  </a:cubicBezTo>
                  <a:cubicBezTo>
                    <a:pt x="0" y="73"/>
                    <a:pt x="0" y="65"/>
                    <a:pt x="0" y="54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29"/>
                    <a:pt x="3" y="18"/>
                    <a:pt x="11" y="9"/>
                  </a:cubicBezTo>
                  <a:cubicBezTo>
                    <a:pt x="18" y="3"/>
                    <a:pt x="27" y="0"/>
                    <a:pt x="39" y="0"/>
                  </a:cubicBezTo>
                  <a:cubicBezTo>
                    <a:pt x="44" y="0"/>
                    <a:pt x="50" y="0"/>
                    <a:pt x="54" y="2"/>
                  </a:cubicBezTo>
                  <a:cubicBezTo>
                    <a:pt x="58" y="4"/>
                    <a:pt x="61" y="6"/>
                    <a:pt x="66" y="1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93" y="1"/>
                    <a:pt x="93" y="1"/>
                    <a:pt x="93" y="1"/>
                  </a:cubicBezTo>
                  <a:lnTo>
                    <a:pt x="93" y="109"/>
                  </a:lnTo>
                  <a:close/>
                  <a:moveTo>
                    <a:pt x="46" y="25"/>
                  </a:moveTo>
                  <a:cubicBezTo>
                    <a:pt x="33" y="25"/>
                    <a:pt x="28" y="33"/>
                    <a:pt x="28" y="54"/>
                  </a:cubicBezTo>
                  <a:cubicBezTo>
                    <a:pt x="28" y="75"/>
                    <a:pt x="33" y="83"/>
                    <a:pt x="46" y="83"/>
                  </a:cubicBezTo>
                  <a:cubicBezTo>
                    <a:pt x="59" y="83"/>
                    <a:pt x="65" y="75"/>
                    <a:pt x="65" y="54"/>
                  </a:cubicBezTo>
                  <a:cubicBezTo>
                    <a:pt x="65" y="33"/>
                    <a:pt x="60" y="25"/>
                    <a:pt x="46" y="25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3377A4AE-8198-43D8-B2BC-28AC4C01D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7397" y="1043232"/>
              <a:ext cx="174072" cy="258472"/>
            </a:xfrm>
            <a:custGeom>
              <a:avLst/>
              <a:gdLst>
                <a:gd name="T0" fmla="*/ 57 w 105"/>
                <a:gd name="T1" fmla="*/ 131 h 154"/>
                <a:gd name="T2" fmla="*/ 24 w 105"/>
                <a:gd name="T3" fmla="*/ 154 h 154"/>
                <a:gd name="T4" fmla="*/ 13 w 105"/>
                <a:gd name="T5" fmla="*/ 154 h 154"/>
                <a:gd name="T6" fmla="*/ 13 w 105"/>
                <a:gd name="T7" fmla="*/ 129 h 154"/>
                <a:gd name="T8" fmla="*/ 19 w 105"/>
                <a:gd name="T9" fmla="*/ 129 h 154"/>
                <a:gd name="T10" fmla="*/ 33 w 105"/>
                <a:gd name="T11" fmla="*/ 118 h 154"/>
                <a:gd name="T12" fmla="*/ 38 w 105"/>
                <a:gd name="T13" fmla="*/ 105 h 154"/>
                <a:gd name="T14" fmla="*/ 0 w 105"/>
                <a:gd name="T15" fmla="*/ 0 h 154"/>
                <a:gd name="T16" fmla="*/ 29 w 105"/>
                <a:gd name="T17" fmla="*/ 0 h 154"/>
                <a:gd name="T18" fmla="*/ 53 w 105"/>
                <a:gd name="T19" fmla="*/ 69 h 154"/>
                <a:gd name="T20" fmla="*/ 75 w 105"/>
                <a:gd name="T21" fmla="*/ 0 h 154"/>
                <a:gd name="T22" fmla="*/ 105 w 105"/>
                <a:gd name="T23" fmla="*/ 0 h 154"/>
                <a:gd name="T24" fmla="*/ 57 w 105"/>
                <a:gd name="T25" fmla="*/ 13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54">
                  <a:moveTo>
                    <a:pt x="57" y="131"/>
                  </a:moveTo>
                  <a:cubicBezTo>
                    <a:pt x="51" y="147"/>
                    <a:pt x="41" y="154"/>
                    <a:pt x="24" y="154"/>
                  </a:cubicBezTo>
                  <a:cubicBezTo>
                    <a:pt x="13" y="154"/>
                    <a:pt x="13" y="154"/>
                    <a:pt x="13" y="154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9" y="129"/>
                    <a:pt x="19" y="129"/>
                    <a:pt x="19" y="129"/>
                  </a:cubicBezTo>
                  <a:cubicBezTo>
                    <a:pt x="28" y="129"/>
                    <a:pt x="31" y="126"/>
                    <a:pt x="33" y="118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05" y="0"/>
                    <a:pt x="105" y="0"/>
                    <a:pt x="105" y="0"/>
                  </a:cubicBezTo>
                  <a:lnTo>
                    <a:pt x="57" y="131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1E182D83-961C-4D8D-AFE7-EFFD9DCD15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7518" y="972020"/>
              <a:ext cx="184623" cy="261110"/>
            </a:xfrm>
            <a:custGeom>
              <a:avLst/>
              <a:gdLst>
                <a:gd name="T0" fmla="*/ 60 w 111"/>
                <a:gd name="T1" fmla="*/ 0 h 155"/>
                <a:gd name="T2" fmla="*/ 111 w 111"/>
                <a:gd name="T3" fmla="*/ 48 h 155"/>
                <a:gd name="T4" fmla="*/ 60 w 111"/>
                <a:gd name="T5" fmla="*/ 97 h 155"/>
                <a:gd name="T6" fmla="*/ 30 w 111"/>
                <a:gd name="T7" fmla="*/ 97 h 155"/>
                <a:gd name="T8" fmla="*/ 30 w 111"/>
                <a:gd name="T9" fmla="*/ 155 h 155"/>
                <a:gd name="T10" fmla="*/ 0 w 111"/>
                <a:gd name="T11" fmla="*/ 155 h 155"/>
                <a:gd name="T12" fmla="*/ 0 w 111"/>
                <a:gd name="T13" fmla="*/ 0 h 155"/>
                <a:gd name="T14" fmla="*/ 60 w 111"/>
                <a:gd name="T15" fmla="*/ 0 h 155"/>
                <a:gd name="T16" fmla="*/ 58 w 111"/>
                <a:gd name="T17" fmla="*/ 69 h 155"/>
                <a:gd name="T18" fmla="*/ 81 w 111"/>
                <a:gd name="T19" fmla="*/ 48 h 155"/>
                <a:gd name="T20" fmla="*/ 58 w 111"/>
                <a:gd name="T21" fmla="*/ 27 h 155"/>
                <a:gd name="T22" fmla="*/ 30 w 111"/>
                <a:gd name="T23" fmla="*/ 27 h 155"/>
                <a:gd name="T24" fmla="*/ 30 w 111"/>
                <a:gd name="T25" fmla="*/ 69 h 155"/>
                <a:gd name="T26" fmla="*/ 58 w 111"/>
                <a:gd name="T27" fmla="*/ 6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1" h="155">
                  <a:moveTo>
                    <a:pt x="60" y="0"/>
                  </a:moveTo>
                  <a:cubicBezTo>
                    <a:pt x="89" y="0"/>
                    <a:pt x="111" y="20"/>
                    <a:pt x="111" y="48"/>
                  </a:cubicBezTo>
                  <a:cubicBezTo>
                    <a:pt x="111" y="77"/>
                    <a:pt x="90" y="97"/>
                    <a:pt x="60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30" y="155"/>
                    <a:pt x="30" y="155"/>
                    <a:pt x="30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0" y="0"/>
                  </a:lnTo>
                  <a:close/>
                  <a:moveTo>
                    <a:pt x="58" y="69"/>
                  </a:moveTo>
                  <a:cubicBezTo>
                    <a:pt x="72" y="69"/>
                    <a:pt x="81" y="61"/>
                    <a:pt x="81" y="48"/>
                  </a:cubicBezTo>
                  <a:cubicBezTo>
                    <a:pt x="81" y="36"/>
                    <a:pt x="72" y="27"/>
                    <a:pt x="58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69"/>
                    <a:pt x="30" y="69"/>
                    <a:pt x="30" y="69"/>
                  </a:cubicBezTo>
                  <a:lnTo>
                    <a:pt x="58" y="69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8" name="Freeform 16">
              <a:extLst>
                <a:ext uri="{FF2B5EF4-FFF2-40B4-BE49-F238E27FC236}">
                  <a16:creationId xmlns:a16="http://schemas.microsoft.com/office/drawing/2014/main" id="{A82DFB9B-3611-4BFF-8AF2-AF0944F17D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3241" y="1040594"/>
              <a:ext cx="155612" cy="192535"/>
            </a:xfrm>
            <a:custGeom>
              <a:avLst/>
              <a:gdLst>
                <a:gd name="T0" fmla="*/ 65 w 93"/>
                <a:gd name="T1" fmla="*/ 114 h 115"/>
                <a:gd name="T2" fmla="*/ 65 w 93"/>
                <a:gd name="T3" fmla="*/ 104 h 115"/>
                <a:gd name="T4" fmla="*/ 54 w 93"/>
                <a:gd name="T5" fmla="*/ 112 h 115"/>
                <a:gd name="T6" fmla="*/ 38 w 93"/>
                <a:gd name="T7" fmla="*/ 115 h 115"/>
                <a:gd name="T8" fmla="*/ 0 w 93"/>
                <a:gd name="T9" fmla="*/ 80 h 115"/>
                <a:gd name="T10" fmla="*/ 38 w 93"/>
                <a:gd name="T11" fmla="*/ 47 h 115"/>
                <a:gd name="T12" fmla="*/ 65 w 93"/>
                <a:gd name="T13" fmla="*/ 47 h 115"/>
                <a:gd name="T14" fmla="*/ 65 w 93"/>
                <a:gd name="T15" fmla="*/ 41 h 115"/>
                <a:gd name="T16" fmla="*/ 43 w 93"/>
                <a:gd name="T17" fmla="*/ 23 h 115"/>
                <a:gd name="T18" fmla="*/ 22 w 93"/>
                <a:gd name="T19" fmla="*/ 33 h 115"/>
                <a:gd name="T20" fmla="*/ 4 w 93"/>
                <a:gd name="T21" fmla="*/ 15 h 115"/>
                <a:gd name="T22" fmla="*/ 19 w 93"/>
                <a:gd name="T23" fmla="*/ 4 h 115"/>
                <a:gd name="T24" fmla="*/ 44 w 93"/>
                <a:gd name="T25" fmla="*/ 0 h 115"/>
                <a:gd name="T26" fmla="*/ 93 w 93"/>
                <a:gd name="T27" fmla="*/ 39 h 115"/>
                <a:gd name="T28" fmla="*/ 93 w 93"/>
                <a:gd name="T29" fmla="*/ 114 h 115"/>
                <a:gd name="T30" fmla="*/ 65 w 93"/>
                <a:gd name="T31" fmla="*/ 114 h 115"/>
                <a:gd name="T32" fmla="*/ 42 w 93"/>
                <a:gd name="T33" fmla="*/ 66 h 115"/>
                <a:gd name="T34" fmla="*/ 27 w 93"/>
                <a:gd name="T35" fmla="*/ 79 h 115"/>
                <a:gd name="T36" fmla="*/ 44 w 93"/>
                <a:gd name="T37" fmla="*/ 92 h 115"/>
                <a:gd name="T38" fmla="*/ 65 w 93"/>
                <a:gd name="T39" fmla="*/ 72 h 115"/>
                <a:gd name="T40" fmla="*/ 65 w 93"/>
                <a:gd name="T41" fmla="*/ 66 h 115"/>
                <a:gd name="T42" fmla="*/ 42 w 93"/>
                <a:gd name="T43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115">
                  <a:moveTo>
                    <a:pt x="65" y="114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60" y="109"/>
                    <a:pt x="58" y="110"/>
                    <a:pt x="54" y="112"/>
                  </a:cubicBezTo>
                  <a:cubicBezTo>
                    <a:pt x="49" y="114"/>
                    <a:pt x="44" y="115"/>
                    <a:pt x="38" y="115"/>
                  </a:cubicBezTo>
                  <a:cubicBezTo>
                    <a:pt x="14" y="115"/>
                    <a:pt x="0" y="102"/>
                    <a:pt x="0" y="80"/>
                  </a:cubicBezTo>
                  <a:cubicBezTo>
                    <a:pt x="0" y="59"/>
                    <a:pt x="14" y="47"/>
                    <a:pt x="38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28"/>
                    <a:pt x="59" y="23"/>
                    <a:pt x="43" y="23"/>
                  </a:cubicBezTo>
                  <a:cubicBezTo>
                    <a:pt x="33" y="23"/>
                    <a:pt x="29" y="25"/>
                    <a:pt x="22" y="3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11" y="9"/>
                    <a:pt x="14" y="6"/>
                    <a:pt x="19" y="4"/>
                  </a:cubicBezTo>
                  <a:cubicBezTo>
                    <a:pt x="26" y="1"/>
                    <a:pt x="34" y="0"/>
                    <a:pt x="44" y="0"/>
                  </a:cubicBezTo>
                  <a:cubicBezTo>
                    <a:pt x="77" y="0"/>
                    <a:pt x="93" y="13"/>
                    <a:pt x="93" y="39"/>
                  </a:cubicBezTo>
                  <a:cubicBezTo>
                    <a:pt x="93" y="114"/>
                    <a:pt x="93" y="114"/>
                    <a:pt x="93" y="114"/>
                  </a:cubicBezTo>
                  <a:lnTo>
                    <a:pt x="65" y="114"/>
                  </a:lnTo>
                  <a:close/>
                  <a:moveTo>
                    <a:pt x="42" y="66"/>
                  </a:moveTo>
                  <a:cubicBezTo>
                    <a:pt x="33" y="66"/>
                    <a:pt x="27" y="71"/>
                    <a:pt x="27" y="79"/>
                  </a:cubicBezTo>
                  <a:cubicBezTo>
                    <a:pt x="27" y="87"/>
                    <a:pt x="33" y="92"/>
                    <a:pt x="44" y="92"/>
                  </a:cubicBezTo>
                  <a:cubicBezTo>
                    <a:pt x="59" y="92"/>
                    <a:pt x="65" y="86"/>
                    <a:pt x="65" y="72"/>
                  </a:cubicBezTo>
                  <a:cubicBezTo>
                    <a:pt x="65" y="66"/>
                    <a:pt x="65" y="66"/>
                    <a:pt x="65" y="66"/>
                  </a:cubicBezTo>
                  <a:lnTo>
                    <a:pt x="42" y="66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9" name="Freeform 17">
              <a:extLst>
                <a:ext uri="{FF2B5EF4-FFF2-40B4-BE49-F238E27FC236}">
                  <a16:creationId xmlns:a16="http://schemas.microsoft.com/office/drawing/2014/main" id="{60479804-D18E-4D64-9A21-52E37C1F1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961" y="1040594"/>
              <a:ext cx="139788" cy="192535"/>
            </a:xfrm>
            <a:custGeom>
              <a:avLst/>
              <a:gdLst>
                <a:gd name="T0" fmla="*/ 62 w 83"/>
                <a:gd name="T1" fmla="*/ 32 h 114"/>
                <a:gd name="T2" fmla="*/ 47 w 83"/>
                <a:gd name="T3" fmla="*/ 25 h 114"/>
                <a:gd name="T4" fmla="*/ 28 w 83"/>
                <a:gd name="T5" fmla="*/ 46 h 114"/>
                <a:gd name="T6" fmla="*/ 28 w 83"/>
                <a:gd name="T7" fmla="*/ 114 h 114"/>
                <a:gd name="T8" fmla="*/ 0 w 83"/>
                <a:gd name="T9" fmla="*/ 114 h 114"/>
                <a:gd name="T10" fmla="*/ 0 w 83"/>
                <a:gd name="T11" fmla="*/ 1 h 114"/>
                <a:gd name="T12" fmla="*/ 28 w 83"/>
                <a:gd name="T13" fmla="*/ 1 h 114"/>
                <a:gd name="T14" fmla="*/ 28 w 83"/>
                <a:gd name="T15" fmla="*/ 12 h 114"/>
                <a:gd name="T16" fmla="*/ 39 w 83"/>
                <a:gd name="T17" fmla="*/ 3 h 114"/>
                <a:gd name="T18" fmla="*/ 57 w 83"/>
                <a:gd name="T19" fmla="*/ 0 h 114"/>
                <a:gd name="T20" fmla="*/ 71 w 83"/>
                <a:gd name="T21" fmla="*/ 2 h 114"/>
                <a:gd name="T22" fmla="*/ 83 w 83"/>
                <a:gd name="T23" fmla="*/ 10 h 114"/>
                <a:gd name="T24" fmla="*/ 62 w 83"/>
                <a:gd name="T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114">
                  <a:moveTo>
                    <a:pt x="62" y="32"/>
                  </a:moveTo>
                  <a:cubicBezTo>
                    <a:pt x="56" y="27"/>
                    <a:pt x="53" y="25"/>
                    <a:pt x="47" y="25"/>
                  </a:cubicBezTo>
                  <a:cubicBezTo>
                    <a:pt x="36" y="25"/>
                    <a:pt x="28" y="33"/>
                    <a:pt x="28" y="46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2" y="7"/>
                    <a:pt x="34" y="6"/>
                    <a:pt x="39" y="3"/>
                  </a:cubicBezTo>
                  <a:cubicBezTo>
                    <a:pt x="45" y="1"/>
                    <a:pt x="50" y="0"/>
                    <a:pt x="57" y="0"/>
                  </a:cubicBezTo>
                  <a:cubicBezTo>
                    <a:pt x="62" y="0"/>
                    <a:pt x="67" y="0"/>
                    <a:pt x="71" y="2"/>
                  </a:cubicBezTo>
                  <a:cubicBezTo>
                    <a:pt x="75" y="4"/>
                    <a:pt x="78" y="6"/>
                    <a:pt x="83" y="10"/>
                  </a:cubicBezTo>
                  <a:lnTo>
                    <a:pt x="62" y="32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0" name="Freeform 18">
              <a:extLst>
                <a:ext uri="{FF2B5EF4-FFF2-40B4-BE49-F238E27FC236}">
                  <a16:creationId xmlns:a16="http://schemas.microsoft.com/office/drawing/2014/main" id="{A6A0C3FD-969B-4B1D-A410-7931DCAC4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663" y="993120"/>
              <a:ext cx="100223" cy="240010"/>
            </a:xfrm>
            <a:custGeom>
              <a:avLst/>
              <a:gdLst>
                <a:gd name="T0" fmla="*/ 45 w 60"/>
                <a:gd name="T1" fmla="*/ 143 h 143"/>
                <a:gd name="T2" fmla="*/ 12 w 60"/>
                <a:gd name="T3" fmla="*/ 110 h 143"/>
                <a:gd name="T4" fmla="*/ 12 w 60"/>
                <a:gd name="T5" fmla="*/ 54 h 143"/>
                <a:gd name="T6" fmla="*/ 0 w 60"/>
                <a:gd name="T7" fmla="*/ 54 h 143"/>
                <a:gd name="T8" fmla="*/ 0 w 60"/>
                <a:gd name="T9" fmla="*/ 33 h 143"/>
                <a:gd name="T10" fmla="*/ 12 w 60"/>
                <a:gd name="T11" fmla="*/ 33 h 143"/>
                <a:gd name="T12" fmla="*/ 12 w 60"/>
                <a:gd name="T13" fmla="*/ 0 h 143"/>
                <a:gd name="T14" fmla="*/ 41 w 60"/>
                <a:gd name="T15" fmla="*/ 0 h 143"/>
                <a:gd name="T16" fmla="*/ 41 w 60"/>
                <a:gd name="T17" fmla="*/ 33 h 143"/>
                <a:gd name="T18" fmla="*/ 60 w 60"/>
                <a:gd name="T19" fmla="*/ 33 h 143"/>
                <a:gd name="T20" fmla="*/ 60 w 60"/>
                <a:gd name="T21" fmla="*/ 54 h 143"/>
                <a:gd name="T22" fmla="*/ 41 w 60"/>
                <a:gd name="T23" fmla="*/ 54 h 143"/>
                <a:gd name="T24" fmla="*/ 41 w 60"/>
                <a:gd name="T25" fmla="*/ 109 h 143"/>
                <a:gd name="T26" fmla="*/ 50 w 60"/>
                <a:gd name="T27" fmla="*/ 119 h 143"/>
                <a:gd name="T28" fmla="*/ 60 w 60"/>
                <a:gd name="T29" fmla="*/ 119 h 143"/>
                <a:gd name="T30" fmla="*/ 60 w 60"/>
                <a:gd name="T31" fmla="*/ 143 h 143"/>
                <a:gd name="T32" fmla="*/ 45 w 60"/>
                <a:gd name="T3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43">
                  <a:moveTo>
                    <a:pt x="45" y="143"/>
                  </a:moveTo>
                  <a:cubicBezTo>
                    <a:pt x="25" y="143"/>
                    <a:pt x="12" y="130"/>
                    <a:pt x="12" y="110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15"/>
                    <a:pt x="44" y="119"/>
                    <a:pt x="50" y="119"/>
                  </a:cubicBezTo>
                  <a:cubicBezTo>
                    <a:pt x="60" y="119"/>
                    <a:pt x="60" y="119"/>
                    <a:pt x="60" y="119"/>
                  </a:cubicBezTo>
                  <a:cubicBezTo>
                    <a:pt x="60" y="143"/>
                    <a:pt x="60" y="143"/>
                    <a:pt x="60" y="143"/>
                  </a:cubicBezTo>
                  <a:lnTo>
                    <a:pt x="45" y="143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1" name="Freeform 19">
              <a:extLst>
                <a:ext uri="{FF2B5EF4-FFF2-40B4-BE49-F238E27FC236}">
                  <a16:creationId xmlns:a16="http://schemas.microsoft.com/office/drawing/2014/main" id="{FAAC2794-8A36-4041-B76C-39FB4822D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1724" y="1040594"/>
              <a:ext cx="155612" cy="192535"/>
            </a:xfrm>
            <a:custGeom>
              <a:avLst/>
              <a:gdLst>
                <a:gd name="T0" fmla="*/ 66 w 94"/>
                <a:gd name="T1" fmla="*/ 114 h 114"/>
                <a:gd name="T2" fmla="*/ 66 w 94"/>
                <a:gd name="T3" fmla="*/ 45 h 114"/>
                <a:gd name="T4" fmla="*/ 47 w 94"/>
                <a:gd name="T5" fmla="*/ 25 h 114"/>
                <a:gd name="T6" fmla="*/ 28 w 94"/>
                <a:gd name="T7" fmla="*/ 45 h 114"/>
                <a:gd name="T8" fmla="*/ 28 w 94"/>
                <a:gd name="T9" fmla="*/ 114 h 114"/>
                <a:gd name="T10" fmla="*/ 0 w 94"/>
                <a:gd name="T11" fmla="*/ 114 h 114"/>
                <a:gd name="T12" fmla="*/ 0 w 94"/>
                <a:gd name="T13" fmla="*/ 1 h 114"/>
                <a:gd name="T14" fmla="*/ 28 w 94"/>
                <a:gd name="T15" fmla="*/ 1 h 114"/>
                <a:gd name="T16" fmla="*/ 28 w 94"/>
                <a:gd name="T17" fmla="*/ 11 h 114"/>
                <a:gd name="T18" fmla="*/ 40 w 94"/>
                <a:gd name="T19" fmla="*/ 3 h 114"/>
                <a:gd name="T20" fmla="*/ 56 w 94"/>
                <a:gd name="T21" fmla="*/ 0 h 114"/>
                <a:gd name="T22" fmla="*/ 94 w 94"/>
                <a:gd name="T23" fmla="*/ 41 h 114"/>
                <a:gd name="T24" fmla="*/ 94 w 94"/>
                <a:gd name="T25" fmla="*/ 114 h 114"/>
                <a:gd name="T26" fmla="*/ 66 w 94"/>
                <a:gd name="T2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14">
                  <a:moveTo>
                    <a:pt x="66" y="114"/>
                  </a:moveTo>
                  <a:cubicBezTo>
                    <a:pt x="66" y="45"/>
                    <a:pt x="66" y="45"/>
                    <a:pt x="66" y="45"/>
                  </a:cubicBezTo>
                  <a:cubicBezTo>
                    <a:pt x="66" y="33"/>
                    <a:pt x="58" y="25"/>
                    <a:pt x="47" y="25"/>
                  </a:cubicBezTo>
                  <a:cubicBezTo>
                    <a:pt x="35" y="25"/>
                    <a:pt x="28" y="33"/>
                    <a:pt x="28" y="45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32" y="6"/>
                    <a:pt x="35" y="5"/>
                    <a:pt x="40" y="3"/>
                  </a:cubicBezTo>
                  <a:cubicBezTo>
                    <a:pt x="45" y="1"/>
                    <a:pt x="50" y="0"/>
                    <a:pt x="56" y="0"/>
                  </a:cubicBezTo>
                  <a:cubicBezTo>
                    <a:pt x="79" y="0"/>
                    <a:pt x="94" y="15"/>
                    <a:pt x="94" y="41"/>
                  </a:cubicBezTo>
                  <a:cubicBezTo>
                    <a:pt x="94" y="114"/>
                    <a:pt x="94" y="114"/>
                    <a:pt x="94" y="114"/>
                  </a:cubicBezTo>
                  <a:lnTo>
                    <a:pt x="66" y="114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2" name="Freeform 20">
              <a:extLst>
                <a:ext uri="{FF2B5EF4-FFF2-40B4-BE49-F238E27FC236}">
                  <a16:creationId xmlns:a16="http://schemas.microsoft.com/office/drawing/2014/main" id="{45EBABF9-966E-40B1-928C-5CD5F1B04A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6897" y="1040594"/>
              <a:ext cx="166160" cy="192535"/>
            </a:xfrm>
            <a:custGeom>
              <a:avLst/>
              <a:gdLst>
                <a:gd name="T0" fmla="*/ 28 w 99"/>
                <a:gd name="T1" fmla="*/ 66 h 115"/>
                <a:gd name="T2" fmla="*/ 54 w 99"/>
                <a:gd name="T3" fmla="*/ 91 h 115"/>
                <a:gd name="T4" fmla="*/ 67 w 99"/>
                <a:gd name="T5" fmla="*/ 89 h 115"/>
                <a:gd name="T6" fmla="*/ 78 w 99"/>
                <a:gd name="T7" fmla="*/ 80 h 115"/>
                <a:gd name="T8" fmla="*/ 95 w 99"/>
                <a:gd name="T9" fmla="*/ 97 h 115"/>
                <a:gd name="T10" fmla="*/ 76 w 99"/>
                <a:gd name="T11" fmla="*/ 111 h 115"/>
                <a:gd name="T12" fmla="*/ 53 w 99"/>
                <a:gd name="T13" fmla="*/ 115 h 115"/>
                <a:gd name="T14" fmla="*/ 0 w 99"/>
                <a:gd name="T15" fmla="*/ 57 h 115"/>
                <a:gd name="T16" fmla="*/ 50 w 99"/>
                <a:gd name="T17" fmla="*/ 0 h 115"/>
                <a:gd name="T18" fmla="*/ 99 w 99"/>
                <a:gd name="T19" fmla="*/ 53 h 115"/>
                <a:gd name="T20" fmla="*/ 99 w 99"/>
                <a:gd name="T21" fmla="*/ 66 h 115"/>
                <a:gd name="T22" fmla="*/ 28 w 99"/>
                <a:gd name="T23" fmla="*/ 66 h 115"/>
                <a:gd name="T24" fmla="*/ 50 w 99"/>
                <a:gd name="T25" fmla="*/ 23 h 115"/>
                <a:gd name="T26" fmla="*/ 28 w 99"/>
                <a:gd name="T27" fmla="*/ 47 h 115"/>
                <a:gd name="T28" fmla="*/ 71 w 99"/>
                <a:gd name="T29" fmla="*/ 47 h 115"/>
                <a:gd name="T30" fmla="*/ 50 w 99"/>
                <a:gd name="T31" fmla="*/ 2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9" h="115">
                  <a:moveTo>
                    <a:pt x="28" y="66"/>
                  </a:moveTo>
                  <a:cubicBezTo>
                    <a:pt x="29" y="83"/>
                    <a:pt x="37" y="91"/>
                    <a:pt x="54" y="91"/>
                  </a:cubicBezTo>
                  <a:cubicBezTo>
                    <a:pt x="58" y="91"/>
                    <a:pt x="63" y="90"/>
                    <a:pt x="67" y="89"/>
                  </a:cubicBezTo>
                  <a:cubicBezTo>
                    <a:pt x="71" y="87"/>
                    <a:pt x="73" y="85"/>
                    <a:pt x="78" y="80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87" y="105"/>
                    <a:pt x="83" y="108"/>
                    <a:pt x="76" y="111"/>
                  </a:cubicBezTo>
                  <a:cubicBezTo>
                    <a:pt x="70" y="113"/>
                    <a:pt x="62" y="115"/>
                    <a:pt x="53" y="115"/>
                  </a:cubicBezTo>
                  <a:cubicBezTo>
                    <a:pt x="18" y="115"/>
                    <a:pt x="0" y="95"/>
                    <a:pt x="0" y="57"/>
                  </a:cubicBezTo>
                  <a:cubicBezTo>
                    <a:pt x="0" y="22"/>
                    <a:pt x="19" y="0"/>
                    <a:pt x="50" y="0"/>
                  </a:cubicBezTo>
                  <a:cubicBezTo>
                    <a:pt x="79" y="0"/>
                    <a:pt x="99" y="21"/>
                    <a:pt x="99" y="53"/>
                  </a:cubicBezTo>
                  <a:cubicBezTo>
                    <a:pt x="99" y="66"/>
                    <a:pt x="99" y="66"/>
                    <a:pt x="99" y="66"/>
                  </a:cubicBezTo>
                  <a:lnTo>
                    <a:pt x="28" y="66"/>
                  </a:lnTo>
                  <a:close/>
                  <a:moveTo>
                    <a:pt x="50" y="23"/>
                  </a:moveTo>
                  <a:cubicBezTo>
                    <a:pt x="37" y="23"/>
                    <a:pt x="29" y="32"/>
                    <a:pt x="28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0" y="31"/>
                    <a:pt x="62" y="23"/>
                    <a:pt x="50" y="23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3" name="Freeform 21">
              <a:extLst>
                <a:ext uri="{FF2B5EF4-FFF2-40B4-BE49-F238E27FC236}">
                  <a16:creationId xmlns:a16="http://schemas.microsoft.com/office/drawing/2014/main" id="{5E2A512B-99A2-4CB2-A81C-30E8155FB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257" y="1040594"/>
              <a:ext cx="137148" cy="192535"/>
            </a:xfrm>
            <a:custGeom>
              <a:avLst/>
              <a:gdLst>
                <a:gd name="T0" fmla="*/ 61 w 82"/>
                <a:gd name="T1" fmla="*/ 32 h 114"/>
                <a:gd name="T2" fmla="*/ 46 w 82"/>
                <a:gd name="T3" fmla="*/ 25 h 114"/>
                <a:gd name="T4" fmla="*/ 28 w 82"/>
                <a:gd name="T5" fmla="*/ 46 h 114"/>
                <a:gd name="T6" fmla="*/ 28 w 82"/>
                <a:gd name="T7" fmla="*/ 114 h 114"/>
                <a:gd name="T8" fmla="*/ 0 w 82"/>
                <a:gd name="T9" fmla="*/ 114 h 114"/>
                <a:gd name="T10" fmla="*/ 0 w 82"/>
                <a:gd name="T11" fmla="*/ 1 h 114"/>
                <a:gd name="T12" fmla="*/ 27 w 82"/>
                <a:gd name="T13" fmla="*/ 1 h 114"/>
                <a:gd name="T14" fmla="*/ 27 w 82"/>
                <a:gd name="T15" fmla="*/ 12 h 114"/>
                <a:gd name="T16" fmla="*/ 38 w 82"/>
                <a:gd name="T17" fmla="*/ 3 h 114"/>
                <a:gd name="T18" fmla="*/ 56 w 82"/>
                <a:gd name="T19" fmla="*/ 0 h 114"/>
                <a:gd name="T20" fmla="*/ 71 w 82"/>
                <a:gd name="T21" fmla="*/ 2 h 114"/>
                <a:gd name="T22" fmla="*/ 82 w 82"/>
                <a:gd name="T23" fmla="*/ 10 h 114"/>
                <a:gd name="T24" fmla="*/ 61 w 82"/>
                <a:gd name="T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114">
                  <a:moveTo>
                    <a:pt x="61" y="32"/>
                  </a:moveTo>
                  <a:cubicBezTo>
                    <a:pt x="56" y="27"/>
                    <a:pt x="52" y="25"/>
                    <a:pt x="46" y="25"/>
                  </a:cubicBezTo>
                  <a:cubicBezTo>
                    <a:pt x="35" y="25"/>
                    <a:pt x="28" y="33"/>
                    <a:pt x="28" y="46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32" y="7"/>
                    <a:pt x="33" y="6"/>
                    <a:pt x="38" y="3"/>
                  </a:cubicBezTo>
                  <a:cubicBezTo>
                    <a:pt x="44" y="1"/>
                    <a:pt x="50" y="0"/>
                    <a:pt x="56" y="0"/>
                  </a:cubicBezTo>
                  <a:cubicBezTo>
                    <a:pt x="61" y="0"/>
                    <a:pt x="66" y="0"/>
                    <a:pt x="71" y="2"/>
                  </a:cubicBezTo>
                  <a:cubicBezTo>
                    <a:pt x="75" y="4"/>
                    <a:pt x="77" y="6"/>
                    <a:pt x="82" y="10"/>
                  </a:cubicBezTo>
                  <a:lnTo>
                    <a:pt x="61" y="32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4" name="Freeform 22">
              <a:extLst>
                <a:ext uri="{FF2B5EF4-FFF2-40B4-BE49-F238E27FC236}">
                  <a16:creationId xmlns:a16="http://schemas.microsoft.com/office/drawing/2014/main" id="{44DF9714-5296-44BD-A5E3-1CD4A1526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2955" y="1040594"/>
              <a:ext cx="158249" cy="192535"/>
            </a:xfrm>
            <a:custGeom>
              <a:avLst/>
              <a:gdLst>
                <a:gd name="T0" fmla="*/ 67 w 96"/>
                <a:gd name="T1" fmla="*/ 25 h 115"/>
                <a:gd name="T2" fmla="*/ 50 w 96"/>
                <a:gd name="T3" fmla="*/ 23 h 115"/>
                <a:gd name="T4" fmla="*/ 33 w 96"/>
                <a:gd name="T5" fmla="*/ 34 h 115"/>
                <a:gd name="T6" fmla="*/ 45 w 96"/>
                <a:gd name="T7" fmla="*/ 43 h 115"/>
                <a:gd name="T8" fmla="*/ 63 w 96"/>
                <a:gd name="T9" fmla="*/ 45 h 115"/>
                <a:gd name="T10" fmla="*/ 96 w 96"/>
                <a:gd name="T11" fmla="*/ 78 h 115"/>
                <a:gd name="T12" fmla="*/ 45 w 96"/>
                <a:gd name="T13" fmla="*/ 115 h 115"/>
                <a:gd name="T14" fmla="*/ 17 w 96"/>
                <a:gd name="T15" fmla="*/ 110 h 115"/>
                <a:gd name="T16" fmla="*/ 0 w 96"/>
                <a:gd name="T17" fmla="*/ 99 h 115"/>
                <a:gd name="T18" fmla="*/ 19 w 96"/>
                <a:gd name="T19" fmla="*/ 80 h 115"/>
                <a:gd name="T20" fmla="*/ 29 w 96"/>
                <a:gd name="T21" fmla="*/ 87 h 115"/>
                <a:gd name="T22" fmla="*/ 48 w 96"/>
                <a:gd name="T23" fmla="*/ 91 h 115"/>
                <a:gd name="T24" fmla="*/ 69 w 96"/>
                <a:gd name="T25" fmla="*/ 79 h 115"/>
                <a:gd name="T26" fmla="*/ 57 w 96"/>
                <a:gd name="T27" fmla="*/ 69 h 115"/>
                <a:gd name="T28" fmla="*/ 39 w 96"/>
                <a:gd name="T29" fmla="*/ 67 h 115"/>
                <a:gd name="T30" fmla="*/ 6 w 96"/>
                <a:gd name="T31" fmla="*/ 36 h 115"/>
                <a:gd name="T32" fmla="*/ 52 w 96"/>
                <a:gd name="T33" fmla="*/ 0 h 115"/>
                <a:gd name="T34" fmla="*/ 79 w 96"/>
                <a:gd name="T35" fmla="*/ 4 h 115"/>
                <a:gd name="T36" fmla="*/ 93 w 96"/>
                <a:gd name="T37" fmla="*/ 13 h 115"/>
                <a:gd name="T38" fmla="*/ 75 w 96"/>
                <a:gd name="T39" fmla="*/ 30 h 115"/>
                <a:gd name="T40" fmla="*/ 67 w 96"/>
                <a:gd name="T41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115">
                  <a:moveTo>
                    <a:pt x="67" y="25"/>
                  </a:moveTo>
                  <a:cubicBezTo>
                    <a:pt x="62" y="24"/>
                    <a:pt x="56" y="23"/>
                    <a:pt x="50" y="23"/>
                  </a:cubicBezTo>
                  <a:cubicBezTo>
                    <a:pt x="39" y="23"/>
                    <a:pt x="33" y="27"/>
                    <a:pt x="33" y="34"/>
                  </a:cubicBezTo>
                  <a:cubicBezTo>
                    <a:pt x="33" y="39"/>
                    <a:pt x="37" y="42"/>
                    <a:pt x="45" y="43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84" y="47"/>
                    <a:pt x="96" y="59"/>
                    <a:pt x="96" y="78"/>
                  </a:cubicBezTo>
                  <a:cubicBezTo>
                    <a:pt x="96" y="102"/>
                    <a:pt x="78" y="115"/>
                    <a:pt x="45" y="115"/>
                  </a:cubicBezTo>
                  <a:cubicBezTo>
                    <a:pt x="34" y="115"/>
                    <a:pt x="25" y="113"/>
                    <a:pt x="17" y="110"/>
                  </a:cubicBezTo>
                  <a:cubicBezTo>
                    <a:pt x="11" y="108"/>
                    <a:pt x="8" y="105"/>
                    <a:pt x="0" y="99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3" y="84"/>
                    <a:pt x="25" y="86"/>
                    <a:pt x="29" y="87"/>
                  </a:cubicBezTo>
                  <a:cubicBezTo>
                    <a:pt x="35" y="90"/>
                    <a:pt x="41" y="91"/>
                    <a:pt x="48" y="91"/>
                  </a:cubicBezTo>
                  <a:cubicBezTo>
                    <a:pt x="61" y="91"/>
                    <a:pt x="69" y="87"/>
                    <a:pt x="69" y="79"/>
                  </a:cubicBezTo>
                  <a:cubicBezTo>
                    <a:pt x="69" y="73"/>
                    <a:pt x="65" y="70"/>
                    <a:pt x="57" y="69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17" y="65"/>
                    <a:pt x="6" y="55"/>
                    <a:pt x="6" y="36"/>
                  </a:cubicBezTo>
                  <a:cubicBezTo>
                    <a:pt x="6" y="13"/>
                    <a:pt x="24" y="0"/>
                    <a:pt x="52" y="0"/>
                  </a:cubicBezTo>
                  <a:cubicBezTo>
                    <a:pt x="61" y="0"/>
                    <a:pt x="71" y="1"/>
                    <a:pt x="79" y="4"/>
                  </a:cubicBezTo>
                  <a:cubicBezTo>
                    <a:pt x="84" y="6"/>
                    <a:pt x="87" y="8"/>
                    <a:pt x="93" y="13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2" y="27"/>
                    <a:pt x="70" y="27"/>
                    <a:pt x="67" y="25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5" name="Freeform 23">
              <a:extLst>
                <a:ext uri="{FF2B5EF4-FFF2-40B4-BE49-F238E27FC236}">
                  <a16:creationId xmlns:a16="http://schemas.microsoft.com/office/drawing/2014/main" id="{062063B9-BE49-4373-8B3A-6680CC55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891" y="972020"/>
              <a:ext cx="189898" cy="261110"/>
            </a:xfrm>
            <a:custGeom>
              <a:avLst/>
              <a:gdLst>
                <a:gd name="T0" fmla="*/ 114 w 114"/>
                <a:gd name="T1" fmla="*/ 92 h 157"/>
                <a:gd name="T2" fmla="*/ 100 w 114"/>
                <a:gd name="T3" fmla="*/ 139 h 157"/>
                <a:gd name="T4" fmla="*/ 57 w 114"/>
                <a:gd name="T5" fmla="*/ 157 h 157"/>
                <a:gd name="T6" fmla="*/ 15 w 114"/>
                <a:gd name="T7" fmla="*/ 140 h 157"/>
                <a:gd name="T8" fmla="*/ 2 w 114"/>
                <a:gd name="T9" fmla="*/ 114 h 157"/>
                <a:gd name="T10" fmla="*/ 0 w 114"/>
                <a:gd name="T11" fmla="*/ 79 h 157"/>
                <a:gd name="T12" fmla="*/ 0 w 114"/>
                <a:gd name="T13" fmla="*/ 72 h 157"/>
                <a:gd name="T14" fmla="*/ 15 w 114"/>
                <a:gd name="T15" fmla="*/ 17 h 157"/>
                <a:gd name="T16" fmla="*/ 57 w 114"/>
                <a:gd name="T17" fmla="*/ 0 h 157"/>
                <a:gd name="T18" fmla="*/ 82 w 114"/>
                <a:gd name="T19" fmla="*/ 5 h 157"/>
                <a:gd name="T20" fmla="*/ 104 w 114"/>
                <a:gd name="T21" fmla="*/ 20 h 157"/>
                <a:gd name="T22" fmla="*/ 83 w 114"/>
                <a:gd name="T23" fmla="*/ 40 h 157"/>
                <a:gd name="T24" fmla="*/ 69 w 114"/>
                <a:gd name="T25" fmla="*/ 29 h 157"/>
                <a:gd name="T26" fmla="*/ 57 w 114"/>
                <a:gd name="T27" fmla="*/ 27 h 157"/>
                <a:gd name="T28" fmla="*/ 37 w 114"/>
                <a:gd name="T29" fmla="*/ 35 h 157"/>
                <a:gd name="T30" fmla="*/ 31 w 114"/>
                <a:gd name="T31" fmla="*/ 48 h 157"/>
                <a:gd name="T32" fmla="*/ 30 w 114"/>
                <a:gd name="T33" fmla="*/ 79 h 157"/>
                <a:gd name="T34" fmla="*/ 30 w 114"/>
                <a:gd name="T35" fmla="*/ 83 h 157"/>
                <a:gd name="T36" fmla="*/ 37 w 114"/>
                <a:gd name="T37" fmla="*/ 122 h 157"/>
                <a:gd name="T38" fmla="*/ 57 w 114"/>
                <a:gd name="T39" fmla="*/ 130 h 157"/>
                <a:gd name="T40" fmla="*/ 84 w 114"/>
                <a:gd name="T41" fmla="*/ 100 h 157"/>
                <a:gd name="T42" fmla="*/ 84 w 114"/>
                <a:gd name="T43" fmla="*/ 95 h 157"/>
                <a:gd name="T44" fmla="*/ 57 w 114"/>
                <a:gd name="T45" fmla="*/ 95 h 157"/>
                <a:gd name="T46" fmla="*/ 57 w 114"/>
                <a:gd name="T47" fmla="*/ 70 h 157"/>
                <a:gd name="T48" fmla="*/ 114 w 114"/>
                <a:gd name="T49" fmla="*/ 70 h 157"/>
                <a:gd name="T50" fmla="*/ 114 w 114"/>
                <a:gd name="T51" fmla="*/ 92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4" h="157">
                  <a:moveTo>
                    <a:pt x="114" y="92"/>
                  </a:moveTo>
                  <a:cubicBezTo>
                    <a:pt x="114" y="115"/>
                    <a:pt x="110" y="128"/>
                    <a:pt x="100" y="139"/>
                  </a:cubicBezTo>
                  <a:cubicBezTo>
                    <a:pt x="89" y="151"/>
                    <a:pt x="74" y="157"/>
                    <a:pt x="57" y="157"/>
                  </a:cubicBezTo>
                  <a:cubicBezTo>
                    <a:pt x="40" y="157"/>
                    <a:pt x="26" y="151"/>
                    <a:pt x="15" y="140"/>
                  </a:cubicBezTo>
                  <a:cubicBezTo>
                    <a:pt x="8" y="133"/>
                    <a:pt x="3" y="123"/>
                    <a:pt x="2" y="114"/>
                  </a:cubicBezTo>
                  <a:cubicBezTo>
                    <a:pt x="1" y="108"/>
                    <a:pt x="0" y="96"/>
                    <a:pt x="0" y="79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42"/>
                    <a:pt x="3" y="29"/>
                    <a:pt x="15" y="17"/>
                  </a:cubicBezTo>
                  <a:cubicBezTo>
                    <a:pt x="26" y="6"/>
                    <a:pt x="40" y="0"/>
                    <a:pt x="57" y="0"/>
                  </a:cubicBezTo>
                  <a:cubicBezTo>
                    <a:pt x="67" y="0"/>
                    <a:pt x="75" y="1"/>
                    <a:pt x="82" y="5"/>
                  </a:cubicBezTo>
                  <a:cubicBezTo>
                    <a:pt x="90" y="7"/>
                    <a:pt x="94" y="11"/>
                    <a:pt x="104" y="2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77" y="33"/>
                    <a:pt x="74" y="31"/>
                    <a:pt x="69" y="29"/>
                  </a:cubicBezTo>
                  <a:cubicBezTo>
                    <a:pt x="66" y="28"/>
                    <a:pt x="61" y="27"/>
                    <a:pt x="57" y="27"/>
                  </a:cubicBezTo>
                  <a:cubicBezTo>
                    <a:pt x="49" y="27"/>
                    <a:pt x="42" y="30"/>
                    <a:pt x="37" y="35"/>
                  </a:cubicBezTo>
                  <a:cubicBezTo>
                    <a:pt x="34" y="39"/>
                    <a:pt x="32" y="43"/>
                    <a:pt x="31" y="48"/>
                  </a:cubicBezTo>
                  <a:cubicBezTo>
                    <a:pt x="31" y="54"/>
                    <a:pt x="30" y="65"/>
                    <a:pt x="30" y="79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107"/>
                    <a:pt x="31" y="116"/>
                    <a:pt x="37" y="122"/>
                  </a:cubicBezTo>
                  <a:cubicBezTo>
                    <a:pt x="42" y="127"/>
                    <a:pt x="49" y="130"/>
                    <a:pt x="57" y="130"/>
                  </a:cubicBezTo>
                  <a:cubicBezTo>
                    <a:pt x="74" y="130"/>
                    <a:pt x="84" y="119"/>
                    <a:pt x="84" y="100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114" y="70"/>
                    <a:pt x="114" y="70"/>
                    <a:pt x="114" y="70"/>
                  </a:cubicBezTo>
                  <a:lnTo>
                    <a:pt x="114" y="92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6" name="Freeform 24">
              <a:extLst>
                <a:ext uri="{FF2B5EF4-FFF2-40B4-BE49-F238E27FC236}">
                  <a16:creationId xmlns:a16="http://schemas.microsoft.com/office/drawing/2014/main" id="{7346C489-9CF6-4871-A19A-3D2863951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625" y="1040594"/>
              <a:ext cx="137148" cy="192535"/>
            </a:xfrm>
            <a:custGeom>
              <a:avLst/>
              <a:gdLst>
                <a:gd name="T0" fmla="*/ 61 w 82"/>
                <a:gd name="T1" fmla="*/ 32 h 114"/>
                <a:gd name="T2" fmla="*/ 47 w 82"/>
                <a:gd name="T3" fmla="*/ 25 h 114"/>
                <a:gd name="T4" fmla="*/ 28 w 82"/>
                <a:gd name="T5" fmla="*/ 46 h 114"/>
                <a:gd name="T6" fmla="*/ 28 w 82"/>
                <a:gd name="T7" fmla="*/ 114 h 114"/>
                <a:gd name="T8" fmla="*/ 0 w 82"/>
                <a:gd name="T9" fmla="*/ 114 h 114"/>
                <a:gd name="T10" fmla="*/ 0 w 82"/>
                <a:gd name="T11" fmla="*/ 1 h 114"/>
                <a:gd name="T12" fmla="*/ 27 w 82"/>
                <a:gd name="T13" fmla="*/ 1 h 114"/>
                <a:gd name="T14" fmla="*/ 27 w 82"/>
                <a:gd name="T15" fmla="*/ 12 h 114"/>
                <a:gd name="T16" fmla="*/ 39 w 82"/>
                <a:gd name="T17" fmla="*/ 3 h 114"/>
                <a:gd name="T18" fmla="*/ 56 w 82"/>
                <a:gd name="T19" fmla="*/ 0 h 114"/>
                <a:gd name="T20" fmla="*/ 71 w 82"/>
                <a:gd name="T21" fmla="*/ 2 h 114"/>
                <a:gd name="T22" fmla="*/ 82 w 82"/>
                <a:gd name="T23" fmla="*/ 10 h 114"/>
                <a:gd name="T24" fmla="*/ 61 w 82"/>
                <a:gd name="T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114">
                  <a:moveTo>
                    <a:pt x="61" y="32"/>
                  </a:moveTo>
                  <a:cubicBezTo>
                    <a:pt x="56" y="27"/>
                    <a:pt x="52" y="25"/>
                    <a:pt x="47" y="25"/>
                  </a:cubicBezTo>
                  <a:cubicBezTo>
                    <a:pt x="36" y="25"/>
                    <a:pt x="28" y="33"/>
                    <a:pt x="28" y="46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32" y="7"/>
                    <a:pt x="34" y="6"/>
                    <a:pt x="39" y="3"/>
                  </a:cubicBezTo>
                  <a:cubicBezTo>
                    <a:pt x="44" y="1"/>
                    <a:pt x="50" y="0"/>
                    <a:pt x="56" y="0"/>
                  </a:cubicBezTo>
                  <a:cubicBezTo>
                    <a:pt x="62" y="0"/>
                    <a:pt x="66" y="0"/>
                    <a:pt x="71" y="2"/>
                  </a:cubicBezTo>
                  <a:cubicBezTo>
                    <a:pt x="75" y="4"/>
                    <a:pt x="77" y="6"/>
                    <a:pt x="82" y="10"/>
                  </a:cubicBezTo>
                  <a:lnTo>
                    <a:pt x="61" y="32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7" name="Freeform 25">
              <a:extLst>
                <a:ext uri="{FF2B5EF4-FFF2-40B4-BE49-F238E27FC236}">
                  <a16:creationId xmlns:a16="http://schemas.microsoft.com/office/drawing/2014/main" id="{EB8BC89F-AFC3-4EE9-A5E6-AC824CCF84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2877" y="1040594"/>
              <a:ext cx="158249" cy="192535"/>
            </a:xfrm>
            <a:custGeom>
              <a:avLst/>
              <a:gdLst>
                <a:gd name="T0" fmla="*/ 82 w 95"/>
                <a:gd name="T1" fmla="*/ 101 h 115"/>
                <a:gd name="T2" fmla="*/ 47 w 95"/>
                <a:gd name="T3" fmla="*/ 115 h 115"/>
                <a:gd name="T4" fmla="*/ 12 w 95"/>
                <a:gd name="T5" fmla="*/ 101 h 115"/>
                <a:gd name="T6" fmla="*/ 0 w 95"/>
                <a:gd name="T7" fmla="*/ 57 h 115"/>
                <a:gd name="T8" fmla="*/ 12 w 95"/>
                <a:gd name="T9" fmla="*/ 13 h 115"/>
                <a:gd name="T10" fmla="*/ 47 w 95"/>
                <a:gd name="T11" fmla="*/ 0 h 115"/>
                <a:gd name="T12" fmla="*/ 82 w 95"/>
                <a:gd name="T13" fmla="*/ 13 h 115"/>
                <a:gd name="T14" fmla="*/ 95 w 95"/>
                <a:gd name="T15" fmla="*/ 57 h 115"/>
                <a:gd name="T16" fmla="*/ 82 w 95"/>
                <a:gd name="T17" fmla="*/ 101 h 115"/>
                <a:gd name="T18" fmla="*/ 47 w 95"/>
                <a:gd name="T19" fmla="*/ 25 h 115"/>
                <a:gd name="T20" fmla="*/ 28 w 95"/>
                <a:gd name="T21" fmla="*/ 59 h 115"/>
                <a:gd name="T22" fmla="*/ 47 w 95"/>
                <a:gd name="T23" fmla="*/ 90 h 115"/>
                <a:gd name="T24" fmla="*/ 67 w 95"/>
                <a:gd name="T25" fmla="*/ 57 h 115"/>
                <a:gd name="T26" fmla="*/ 47 w 95"/>
                <a:gd name="T27" fmla="*/ 2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115">
                  <a:moveTo>
                    <a:pt x="82" y="101"/>
                  </a:moveTo>
                  <a:cubicBezTo>
                    <a:pt x="74" y="110"/>
                    <a:pt x="62" y="115"/>
                    <a:pt x="47" y="115"/>
                  </a:cubicBezTo>
                  <a:cubicBezTo>
                    <a:pt x="33" y="115"/>
                    <a:pt x="21" y="110"/>
                    <a:pt x="12" y="101"/>
                  </a:cubicBezTo>
                  <a:cubicBezTo>
                    <a:pt x="3" y="91"/>
                    <a:pt x="0" y="80"/>
                    <a:pt x="0" y="57"/>
                  </a:cubicBezTo>
                  <a:cubicBezTo>
                    <a:pt x="0" y="35"/>
                    <a:pt x="3" y="23"/>
                    <a:pt x="12" y="13"/>
                  </a:cubicBezTo>
                  <a:cubicBezTo>
                    <a:pt x="21" y="4"/>
                    <a:pt x="33" y="0"/>
                    <a:pt x="47" y="0"/>
                  </a:cubicBezTo>
                  <a:cubicBezTo>
                    <a:pt x="62" y="0"/>
                    <a:pt x="74" y="4"/>
                    <a:pt x="82" y="13"/>
                  </a:cubicBezTo>
                  <a:cubicBezTo>
                    <a:pt x="92" y="23"/>
                    <a:pt x="95" y="35"/>
                    <a:pt x="95" y="57"/>
                  </a:cubicBezTo>
                  <a:cubicBezTo>
                    <a:pt x="95" y="80"/>
                    <a:pt x="92" y="91"/>
                    <a:pt x="82" y="101"/>
                  </a:cubicBezTo>
                  <a:moveTo>
                    <a:pt x="47" y="25"/>
                  </a:moveTo>
                  <a:cubicBezTo>
                    <a:pt x="28" y="25"/>
                    <a:pt x="28" y="44"/>
                    <a:pt x="28" y="59"/>
                  </a:cubicBezTo>
                  <a:cubicBezTo>
                    <a:pt x="28" y="80"/>
                    <a:pt x="34" y="90"/>
                    <a:pt x="47" y="90"/>
                  </a:cubicBezTo>
                  <a:cubicBezTo>
                    <a:pt x="66" y="90"/>
                    <a:pt x="67" y="72"/>
                    <a:pt x="67" y="57"/>
                  </a:cubicBezTo>
                  <a:cubicBezTo>
                    <a:pt x="67" y="43"/>
                    <a:pt x="66" y="25"/>
                    <a:pt x="47" y="25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8" name="Freeform 26">
              <a:extLst>
                <a:ext uri="{FF2B5EF4-FFF2-40B4-BE49-F238E27FC236}">
                  <a16:creationId xmlns:a16="http://schemas.microsoft.com/office/drawing/2014/main" id="{4000449D-AF83-42B9-AE0C-4BD44107EF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3320" y="1043232"/>
              <a:ext cx="155612" cy="189898"/>
            </a:xfrm>
            <a:custGeom>
              <a:avLst/>
              <a:gdLst>
                <a:gd name="T0" fmla="*/ 66 w 93"/>
                <a:gd name="T1" fmla="*/ 113 h 114"/>
                <a:gd name="T2" fmla="*/ 66 w 93"/>
                <a:gd name="T3" fmla="*/ 102 h 114"/>
                <a:gd name="T4" fmla="*/ 54 w 93"/>
                <a:gd name="T5" fmla="*/ 111 h 114"/>
                <a:gd name="T6" fmla="*/ 37 w 93"/>
                <a:gd name="T7" fmla="*/ 114 h 114"/>
                <a:gd name="T8" fmla="*/ 0 w 93"/>
                <a:gd name="T9" fmla="*/ 72 h 114"/>
                <a:gd name="T10" fmla="*/ 0 w 93"/>
                <a:gd name="T11" fmla="*/ 0 h 114"/>
                <a:gd name="T12" fmla="*/ 28 w 93"/>
                <a:gd name="T13" fmla="*/ 0 h 114"/>
                <a:gd name="T14" fmla="*/ 28 w 93"/>
                <a:gd name="T15" fmla="*/ 68 h 114"/>
                <a:gd name="T16" fmla="*/ 46 w 93"/>
                <a:gd name="T17" fmla="*/ 89 h 114"/>
                <a:gd name="T18" fmla="*/ 65 w 93"/>
                <a:gd name="T19" fmla="*/ 68 h 114"/>
                <a:gd name="T20" fmla="*/ 65 w 93"/>
                <a:gd name="T21" fmla="*/ 0 h 114"/>
                <a:gd name="T22" fmla="*/ 93 w 93"/>
                <a:gd name="T23" fmla="*/ 0 h 114"/>
                <a:gd name="T24" fmla="*/ 93 w 93"/>
                <a:gd name="T25" fmla="*/ 113 h 114"/>
                <a:gd name="T26" fmla="*/ 66 w 93"/>
                <a:gd name="T27" fmla="*/ 11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14">
                  <a:moveTo>
                    <a:pt x="66" y="113"/>
                  </a:moveTo>
                  <a:cubicBezTo>
                    <a:pt x="66" y="102"/>
                    <a:pt x="66" y="102"/>
                    <a:pt x="66" y="102"/>
                  </a:cubicBezTo>
                  <a:cubicBezTo>
                    <a:pt x="61" y="107"/>
                    <a:pt x="59" y="108"/>
                    <a:pt x="54" y="111"/>
                  </a:cubicBezTo>
                  <a:cubicBezTo>
                    <a:pt x="49" y="113"/>
                    <a:pt x="43" y="114"/>
                    <a:pt x="37" y="114"/>
                  </a:cubicBezTo>
                  <a:cubicBezTo>
                    <a:pt x="14" y="114"/>
                    <a:pt x="0" y="98"/>
                    <a:pt x="0" y="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81"/>
                    <a:pt x="35" y="89"/>
                    <a:pt x="46" y="89"/>
                  </a:cubicBezTo>
                  <a:cubicBezTo>
                    <a:pt x="58" y="89"/>
                    <a:pt x="65" y="81"/>
                    <a:pt x="65" y="68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13"/>
                    <a:pt x="93" y="113"/>
                    <a:pt x="93" y="113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9" name="Freeform 27">
              <a:extLst>
                <a:ext uri="{FF2B5EF4-FFF2-40B4-BE49-F238E27FC236}">
                  <a16:creationId xmlns:a16="http://schemas.microsoft.com/office/drawing/2014/main" id="{7F1584EE-6EA8-4EEC-A975-A70542DE9B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1684" y="1040594"/>
              <a:ext cx="158249" cy="261110"/>
            </a:xfrm>
            <a:custGeom>
              <a:avLst/>
              <a:gdLst>
                <a:gd name="T0" fmla="*/ 39 w 94"/>
                <a:gd name="T1" fmla="*/ 3 h 155"/>
                <a:gd name="T2" fmla="*/ 55 w 94"/>
                <a:gd name="T3" fmla="*/ 0 h 155"/>
                <a:gd name="T4" fmla="*/ 83 w 94"/>
                <a:gd name="T5" fmla="*/ 10 h 155"/>
                <a:gd name="T6" fmla="*/ 92 w 94"/>
                <a:gd name="T7" fmla="*/ 29 h 155"/>
                <a:gd name="T8" fmla="*/ 94 w 94"/>
                <a:gd name="T9" fmla="*/ 57 h 155"/>
                <a:gd name="T10" fmla="*/ 83 w 94"/>
                <a:gd name="T11" fmla="*/ 105 h 155"/>
                <a:gd name="T12" fmla="*/ 55 w 94"/>
                <a:gd name="T13" fmla="*/ 115 h 155"/>
                <a:gd name="T14" fmla="*/ 39 w 94"/>
                <a:gd name="T15" fmla="*/ 112 h 155"/>
                <a:gd name="T16" fmla="*/ 28 w 94"/>
                <a:gd name="T17" fmla="*/ 104 h 155"/>
                <a:gd name="T18" fmla="*/ 28 w 94"/>
                <a:gd name="T19" fmla="*/ 155 h 155"/>
                <a:gd name="T20" fmla="*/ 0 w 94"/>
                <a:gd name="T21" fmla="*/ 155 h 155"/>
                <a:gd name="T22" fmla="*/ 0 w 94"/>
                <a:gd name="T23" fmla="*/ 1 h 155"/>
                <a:gd name="T24" fmla="*/ 27 w 94"/>
                <a:gd name="T25" fmla="*/ 1 h 155"/>
                <a:gd name="T26" fmla="*/ 27 w 94"/>
                <a:gd name="T27" fmla="*/ 11 h 155"/>
                <a:gd name="T28" fmla="*/ 39 w 94"/>
                <a:gd name="T29" fmla="*/ 3 h 155"/>
                <a:gd name="T30" fmla="*/ 47 w 94"/>
                <a:gd name="T31" fmla="*/ 25 h 155"/>
                <a:gd name="T32" fmla="*/ 31 w 94"/>
                <a:gd name="T33" fmla="*/ 35 h 155"/>
                <a:gd name="T34" fmla="*/ 28 w 94"/>
                <a:gd name="T35" fmla="*/ 59 h 155"/>
                <a:gd name="T36" fmla="*/ 47 w 94"/>
                <a:gd name="T37" fmla="*/ 90 h 155"/>
                <a:gd name="T38" fmla="*/ 66 w 94"/>
                <a:gd name="T39" fmla="*/ 57 h 155"/>
                <a:gd name="T40" fmla="*/ 47 w 94"/>
                <a:gd name="T41" fmla="*/ 2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55">
                  <a:moveTo>
                    <a:pt x="39" y="3"/>
                  </a:moveTo>
                  <a:cubicBezTo>
                    <a:pt x="44" y="1"/>
                    <a:pt x="49" y="0"/>
                    <a:pt x="55" y="0"/>
                  </a:cubicBezTo>
                  <a:cubicBezTo>
                    <a:pt x="66" y="0"/>
                    <a:pt x="76" y="3"/>
                    <a:pt x="83" y="10"/>
                  </a:cubicBezTo>
                  <a:cubicBezTo>
                    <a:pt x="87" y="14"/>
                    <a:pt x="91" y="21"/>
                    <a:pt x="92" y="29"/>
                  </a:cubicBezTo>
                  <a:cubicBezTo>
                    <a:pt x="94" y="37"/>
                    <a:pt x="94" y="43"/>
                    <a:pt x="94" y="57"/>
                  </a:cubicBezTo>
                  <a:cubicBezTo>
                    <a:pt x="94" y="84"/>
                    <a:pt x="91" y="96"/>
                    <a:pt x="83" y="105"/>
                  </a:cubicBezTo>
                  <a:cubicBezTo>
                    <a:pt x="76" y="111"/>
                    <a:pt x="66" y="115"/>
                    <a:pt x="55" y="115"/>
                  </a:cubicBezTo>
                  <a:cubicBezTo>
                    <a:pt x="49" y="115"/>
                    <a:pt x="44" y="114"/>
                    <a:pt x="39" y="112"/>
                  </a:cubicBezTo>
                  <a:cubicBezTo>
                    <a:pt x="35" y="110"/>
                    <a:pt x="33" y="108"/>
                    <a:pt x="28" y="104"/>
                  </a:cubicBezTo>
                  <a:cubicBezTo>
                    <a:pt x="28" y="155"/>
                    <a:pt x="28" y="155"/>
                    <a:pt x="28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32" y="6"/>
                    <a:pt x="35" y="4"/>
                    <a:pt x="39" y="3"/>
                  </a:cubicBezTo>
                  <a:moveTo>
                    <a:pt x="47" y="25"/>
                  </a:moveTo>
                  <a:cubicBezTo>
                    <a:pt x="39" y="25"/>
                    <a:pt x="34" y="28"/>
                    <a:pt x="31" y="35"/>
                  </a:cubicBezTo>
                  <a:cubicBezTo>
                    <a:pt x="29" y="40"/>
                    <a:pt x="28" y="47"/>
                    <a:pt x="28" y="59"/>
                  </a:cubicBezTo>
                  <a:cubicBezTo>
                    <a:pt x="28" y="81"/>
                    <a:pt x="34" y="90"/>
                    <a:pt x="47" y="90"/>
                  </a:cubicBezTo>
                  <a:cubicBezTo>
                    <a:pt x="61" y="90"/>
                    <a:pt x="66" y="81"/>
                    <a:pt x="66" y="57"/>
                  </a:cubicBezTo>
                  <a:cubicBezTo>
                    <a:pt x="66" y="33"/>
                    <a:pt x="61" y="25"/>
                    <a:pt x="47" y="25"/>
                  </a:cubicBezTo>
                </a:path>
              </a:pathLst>
            </a:custGeom>
            <a:solidFill>
              <a:srgbClr val="5F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0" name="Freeform 28">
              <a:extLst>
                <a:ext uri="{FF2B5EF4-FFF2-40B4-BE49-F238E27FC236}">
                  <a16:creationId xmlns:a16="http://schemas.microsoft.com/office/drawing/2014/main" id="{9238A16E-3D6A-4BFC-8BF6-6279A0EF4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3336" y="908720"/>
              <a:ext cx="189898" cy="456282"/>
            </a:xfrm>
            <a:custGeom>
              <a:avLst/>
              <a:gdLst>
                <a:gd name="T0" fmla="*/ 31 w 72"/>
                <a:gd name="T1" fmla="*/ 0 h 173"/>
                <a:gd name="T2" fmla="*/ 0 w 72"/>
                <a:gd name="T3" fmla="*/ 0 h 173"/>
                <a:gd name="T4" fmla="*/ 42 w 72"/>
                <a:gd name="T5" fmla="*/ 86 h 173"/>
                <a:gd name="T6" fmla="*/ 0 w 72"/>
                <a:gd name="T7" fmla="*/ 173 h 173"/>
                <a:gd name="T8" fmla="*/ 31 w 72"/>
                <a:gd name="T9" fmla="*/ 173 h 173"/>
                <a:gd name="T10" fmla="*/ 72 w 72"/>
                <a:gd name="T11" fmla="*/ 86 h 173"/>
                <a:gd name="T12" fmla="*/ 31 w 72"/>
                <a:gd name="T1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73">
                  <a:moveTo>
                    <a:pt x="31" y="0"/>
                  </a:moveTo>
                  <a:lnTo>
                    <a:pt x="0" y="0"/>
                  </a:lnTo>
                  <a:lnTo>
                    <a:pt x="42" y="86"/>
                  </a:lnTo>
                  <a:lnTo>
                    <a:pt x="0" y="173"/>
                  </a:lnTo>
                  <a:lnTo>
                    <a:pt x="31" y="173"/>
                  </a:lnTo>
                  <a:lnTo>
                    <a:pt x="72" y="8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7A1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21" name="Text Placeholder 35"/>
          <p:cNvSpPr>
            <a:spLocks noGrp="1"/>
          </p:cNvSpPr>
          <p:nvPr>
            <p:ph type="body" sz="quarter" idx="13" hasCustomPrompt="1"/>
          </p:nvPr>
        </p:nvSpPr>
        <p:spPr>
          <a:xfrm>
            <a:off x="394273" y="607723"/>
            <a:ext cx="4779963" cy="983160"/>
          </a:xfrm>
        </p:spPr>
        <p:txBody>
          <a:bodyPr lIns="72000" tIns="72000" rIns="72000" bIns="72000" anchor="ctr" anchorCtr="0">
            <a:noAutofit/>
          </a:bodyPr>
          <a:lstStyle>
            <a:lvl1pPr marL="0" indent="0">
              <a:buNone/>
              <a:defRPr sz="1600" i="1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/>
              <a:t>Лого Клиента</a:t>
            </a:r>
          </a:p>
        </p:txBody>
      </p:sp>
      <p:cxnSp>
        <p:nvCxnSpPr>
          <p:cNvPr id="122" name="Прямая соединительная линия 33">
            <a:extLst>
              <a:ext uri="{FF2B5EF4-FFF2-40B4-BE49-F238E27FC236}">
                <a16:creationId xmlns:a16="http://schemas.microsoft.com/office/drawing/2014/main" id="{4B8A0E80-AB51-4F37-AB57-15C26887317D}"/>
              </a:ext>
            </a:extLst>
          </p:cNvPr>
          <p:cNvCxnSpPr>
            <a:cxnSpLocks/>
          </p:cNvCxnSpPr>
          <p:nvPr userDrawn="1"/>
        </p:nvCxnSpPr>
        <p:spPr>
          <a:xfrm>
            <a:off x="394273" y="3742347"/>
            <a:ext cx="477996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4273" y="3852827"/>
            <a:ext cx="4779963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Содержание презентации</a:t>
            </a:r>
          </a:p>
        </p:txBody>
      </p:sp>
      <p:sp>
        <p:nvSpPr>
          <p:cNvPr id="126" name="Полилиния: фигура 35">
            <a:extLst>
              <a:ext uri="{FF2B5EF4-FFF2-40B4-BE49-F238E27FC236}">
                <a16:creationId xmlns:a16="http://schemas.microsoft.com/office/drawing/2014/main" id="{2BD0FF96-C74A-47CC-8FA1-DED5C1F8F4BB}"/>
              </a:ext>
            </a:extLst>
          </p:cNvPr>
          <p:cNvSpPr>
            <a:spLocks/>
          </p:cNvSpPr>
          <p:nvPr userDrawn="1"/>
        </p:nvSpPr>
        <p:spPr bwMode="auto">
          <a:xfrm>
            <a:off x="3970902" y="0"/>
            <a:ext cx="3376499" cy="6858000"/>
          </a:xfrm>
          <a:custGeom>
            <a:avLst/>
            <a:gdLst>
              <a:gd name="connsiteX0" fmla="*/ 1532004 w 3376499"/>
              <a:gd name="connsiteY0" fmla="*/ 0 h 6862444"/>
              <a:gd name="connsiteX1" fmla="*/ 2359318 w 3376499"/>
              <a:gd name="connsiteY1" fmla="*/ 0 h 6862444"/>
              <a:gd name="connsiteX2" fmla="*/ 3376499 w 3376499"/>
              <a:gd name="connsiteY2" fmla="*/ 1941138 h 6862444"/>
              <a:gd name="connsiteX3" fmla="*/ 827314 w 3376499"/>
              <a:gd name="connsiteY3" fmla="*/ 6862444 h 6862444"/>
              <a:gd name="connsiteX4" fmla="*/ 0 w 3376499"/>
              <a:gd name="connsiteY4" fmla="*/ 6862444 h 6862444"/>
              <a:gd name="connsiteX5" fmla="*/ 2549185 w 3376499"/>
              <a:gd name="connsiteY5" fmla="*/ 1941138 h 6862444"/>
              <a:gd name="connsiteX6" fmla="*/ 1532004 w 3376499"/>
              <a:gd name="connsiteY6" fmla="*/ 0 h 6862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76499" h="6862444">
                <a:moveTo>
                  <a:pt x="1532004" y="0"/>
                </a:moveTo>
                <a:lnTo>
                  <a:pt x="2359318" y="0"/>
                </a:lnTo>
                <a:lnTo>
                  <a:pt x="3376499" y="1941138"/>
                </a:lnTo>
                <a:lnTo>
                  <a:pt x="827314" y="6862444"/>
                </a:lnTo>
                <a:lnTo>
                  <a:pt x="0" y="6862444"/>
                </a:lnTo>
                <a:lnTo>
                  <a:pt x="2549185" y="1941138"/>
                </a:lnTo>
                <a:lnTo>
                  <a:pt x="153200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0" name="Text Box 37">
            <a:extLst>
              <a:ext uri="{FF2B5EF4-FFF2-40B4-BE49-F238E27FC236}">
                <a16:creationId xmlns:a16="http://schemas.microsoft.com/office/drawing/2014/main" id="{F2FDD855-90A6-4BAA-A3E1-AE8B049DAD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798" y="6465449"/>
            <a:ext cx="327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accent3"/>
                </a:solidFill>
                <a:latin typeface="+mj-lt"/>
              </a:rPr>
              <a:t>Россия, 11</a:t>
            </a:r>
            <a:r>
              <a:rPr lang="en-US" sz="900" dirty="0">
                <a:solidFill>
                  <a:schemeClr val="accent3"/>
                </a:solidFill>
                <a:latin typeface="+mj-lt"/>
              </a:rPr>
              <a:t>50</a:t>
            </a:r>
            <a:r>
              <a:rPr lang="ru-RU" sz="900" dirty="0">
                <a:solidFill>
                  <a:schemeClr val="accent3"/>
                </a:solidFill>
                <a:latin typeface="+mj-lt"/>
              </a:rPr>
              <a:t>54, Москва, Космодамианская наб., д. 52, стр. </a:t>
            </a:r>
            <a:r>
              <a:rPr lang="en-US" sz="900" dirty="0">
                <a:solidFill>
                  <a:schemeClr val="accent3"/>
                </a:solidFill>
                <a:latin typeface="+mj-lt"/>
              </a:rPr>
              <a:t>2</a:t>
            </a:r>
            <a:endParaRPr lang="ru-RU" sz="9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51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89350" y="6671910"/>
            <a:ext cx="93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accent3"/>
                </a:solidFill>
                <a:latin typeface="+mj-lt"/>
              </a:rPr>
              <a:t>inbox@strategy.ru</a:t>
            </a:r>
          </a:p>
        </p:txBody>
      </p:sp>
      <p:sp>
        <p:nvSpPr>
          <p:cNvPr id="53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62342" y="6671910"/>
            <a:ext cx="900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accent3"/>
                </a:solidFill>
                <a:latin typeface="+mj-lt"/>
              </a:rPr>
              <a:t>+7</a:t>
            </a:r>
            <a:r>
              <a:rPr lang="en-US" sz="90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accent3"/>
                </a:solidFill>
                <a:latin typeface="+mj-lt"/>
              </a:rPr>
              <a:t>495 730</a:t>
            </a:r>
            <a:r>
              <a:rPr lang="en-US" sz="900" baseline="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accent3"/>
                </a:solidFill>
                <a:latin typeface="+mj-lt"/>
              </a:rPr>
              <a:t>77</a:t>
            </a:r>
            <a:r>
              <a:rPr lang="en-US" sz="900" baseline="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accent3"/>
                </a:solidFill>
                <a:latin typeface="+mj-lt"/>
              </a:rPr>
              <a:t>47</a:t>
            </a:r>
          </a:p>
        </p:txBody>
      </p:sp>
      <p:sp>
        <p:nvSpPr>
          <p:cNvPr id="56" name="Text Box 37">
            <a:extLst>
              <a:ext uri="{FF2B5EF4-FFF2-40B4-BE49-F238E27FC236}">
                <a16:creationId xmlns:a16="http://schemas.microsoft.com/office/drawing/2014/main" id="{7E7FB062-F954-48D2-BA3C-C4C8718B59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852820" y="6671910"/>
            <a:ext cx="8269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accent3"/>
                </a:solidFill>
                <a:latin typeface="+mj-lt"/>
              </a:rPr>
              <a:t>www.</a:t>
            </a:r>
            <a:r>
              <a:rPr lang="ru-RU" sz="900" dirty="0">
                <a:solidFill>
                  <a:schemeClr val="accent3"/>
                </a:solidFill>
                <a:latin typeface="+mj-lt"/>
              </a:rPr>
              <a:t>strategy.ru</a:t>
            </a:r>
          </a:p>
        </p:txBody>
      </p:sp>
      <p:pic>
        <p:nvPicPr>
          <p:cNvPr id="61" name="Рисунок 60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73" y="6685552"/>
            <a:ext cx="111125" cy="111125"/>
          </a:xfrm>
          <a:prstGeom prst="rect">
            <a:avLst/>
          </a:prstGeom>
        </p:spPr>
      </p:pic>
      <p:pic>
        <p:nvPicPr>
          <p:cNvPr id="62" name="Рисунок 61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2399" y="6685552"/>
            <a:ext cx="111125" cy="111125"/>
          </a:xfrm>
          <a:prstGeom prst="rect">
            <a:avLst/>
          </a:prstGeom>
        </p:spPr>
      </p:pic>
      <p:pic>
        <p:nvPicPr>
          <p:cNvPr id="63" name="Рисунок 62"/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479" y="6685552"/>
            <a:ext cx="111125" cy="111125"/>
          </a:xfrm>
          <a:prstGeom prst="rect">
            <a:avLst/>
          </a:prstGeom>
        </p:spPr>
      </p:pic>
      <p:sp>
        <p:nvSpPr>
          <p:cNvPr id="47" name="Дата 3"/>
          <p:cNvSpPr>
            <a:spLocks noGrp="1"/>
          </p:cNvSpPr>
          <p:nvPr>
            <p:ph type="dt" sz="half" idx="2"/>
          </p:nvPr>
        </p:nvSpPr>
        <p:spPr>
          <a:xfrm>
            <a:off x="394273" y="4425053"/>
            <a:ext cx="4629150" cy="24622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7592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6661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6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933000" y="1125538"/>
            <a:ext cx="2880000" cy="52197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767971" y="1017266"/>
            <a:ext cx="1210058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3513000" y="1125538"/>
            <a:ext cx="2880000" cy="52197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93000" y="1125538"/>
            <a:ext cx="2880000" cy="52197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34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92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0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539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5093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1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93000" y="400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1827972" y="3892951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93000" y="112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182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5133000" y="400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6867972" y="3892951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3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133000" y="112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86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5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2331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915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9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54935" y="1100813"/>
            <a:ext cx="3096000" cy="720000"/>
          </a:xfrm>
          <a:prstGeom prst="homePlate">
            <a:avLst>
              <a:gd name="adj" fmla="val 20282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lIns="72000" tIns="72000" rIns="72000" bIns="72000" anchor="ctr" anchorCtr="0"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85968" y="1100813"/>
            <a:ext cx="3096000" cy="720000"/>
          </a:xfrm>
          <a:prstGeom prst="chevron">
            <a:avLst>
              <a:gd name="adj" fmla="val 20882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lIns="72000" tIns="72000" rIns="72000" bIns="72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A1600"/>
              </a:buClr>
              <a:buSzTx/>
              <a:buFont typeface="Wingdings" panose="05000000000000000000" pitchFamily="2" charset="2"/>
              <a:buNone/>
              <a:tabLst/>
              <a:defRPr sz="1200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717000" y="1100813"/>
            <a:ext cx="3096000" cy="720000"/>
          </a:xfrm>
          <a:prstGeom prst="chevron">
            <a:avLst>
              <a:gd name="adj" fmla="val 20882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lIns="72000" tIns="72000" rIns="72000" bIns="72000" anchor="ctr" anchorCtr="0"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54935" y="1865596"/>
            <a:ext cx="2934353" cy="3366124"/>
          </a:xfrm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485968" y="1866220"/>
            <a:ext cx="2933700" cy="3365500"/>
          </a:xfrm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6717000" y="1866220"/>
            <a:ext cx="2933700" cy="3365500"/>
          </a:xfrm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255288" y="5265238"/>
            <a:ext cx="2934000" cy="1080000"/>
          </a:xfrm>
          <a:solidFill>
            <a:schemeClr val="accent3"/>
          </a:solidFill>
          <a:ln>
            <a:solidFill>
              <a:schemeClr val="bg1"/>
            </a:solidFill>
          </a:ln>
        </p:spPr>
        <p:txBody>
          <a:bodyPr wrap="square" lIns="72000" tIns="72000" rIns="72000" bIns="72000" anchor="ctr" anchorCtr="0">
            <a:noAutofit/>
          </a:bodyPr>
          <a:lstStyle>
            <a:lvl1pPr>
              <a:buClr>
                <a:schemeClr val="bg1"/>
              </a:buClr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3485968" y="5265738"/>
            <a:ext cx="2933700" cy="1079500"/>
          </a:xfrm>
          <a:solidFill>
            <a:schemeClr val="accent3"/>
          </a:solidFill>
          <a:ln>
            <a:solidFill>
              <a:schemeClr val="bg1"/>
            </a:solidFill>
          </a:ln>
        </p:spPr>
        <p:txBody>
          <a:bodyPr wrap="square" lIns="72000" tIns="72000" rIns="72000" bIns="72000" anchor="ctr" anchorCtr="0">
            <a:noAutofit/>
          </a:bodyPr>
          <a:lstStyle>
            <a:lvl1pPr>
              <a:buClr>
                <a:schemeClr val="bg1"/>
              </a:buClr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6717000" y="5265738"/>
            <a:ext cx="2933700" cy="1079500"/>
          </a:xfrm>
          <a:solidFill>
            <a:schemeClr val="accent3"/>
          </a:solidFill>
          <a:ln>
            <a:solidFill>
              <a:schemeClr val="bg1"/>
            </a:solidFill>
          </a:ln>
        </p:spPr>
        <p:txBody>
          <a:bodyPr wrap="square" lIns="72000" tIns="72000" rIns="72000" bIns="72000" anchor="ctr" anchorCtr="0">
            <a:noAutofit/>
          </a:bodyPr>
          <a:lstStyle>
            <a:lvl1pPr>
              <a:buClr>
                <a:schemeClr val="bg1"/>
              </a:buClr>
              <a:defRPr sz="1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5" name="Текст 4"/>
          <p:cNvSpPr>
            <a:spLocks noGrp="1"/>
          </p:cNvSpPr>
          <p:nvPr>
            <p:ph type="body" sz="quarter" idx="23" hasCustomPrompt="1"/>
          </p:nvPr>
        </p:nvSpPr>
        <p:spPr>
          <a:xfrm>
            <a:off x="93000" y="943768"/>
            <a:ext cx="324000" cy="324000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wrap="none" lIns="72000" tIns="72000" rIns="72000" bIns="72000" anchor="ctr" anchorCtr="0"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6" name="Текст 4"/>
          <p:cNvSpPr>
            <a:spLocks noGrp="1"/>
          </p:cNvSpPr>
          <p:nvPr>
            <p:ph type="body" sz="quarter" idx="24" hasCustomPrompt="1"/>
          </p:nvPr>
        </p:nvSpPr>
        <p:spPr>
          <a:xfrm>
            <a:off x="3400884" y="943768"/>
            <a:ext cx="324000" cy="324000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wrap="none" lIns="72000" tIns="72000" rIns="72000" bIns="72000" anchor="ctr" anchorCtr="0"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7" name="Текст 4"/>
          <p:cNvSpPr>
            <a:spLocks noGrp="1"/>
          </p:cNvSpPr>
          <p:nvPr>
            <p:ph type="body" sz="quarter" idx="25" hasCustomPrompt="1"/>
          </p:nvPr>
        </p:nvSpPr>
        <p:spPr>
          <a:xfrm>
            <a:off x="6635205" y="943768"/>
            <a:ext cx="324000" cy="324000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wrap="none" lIns="72000" tIns="72000" rIns="72000" bIns="72000" anchor="ctr" anchorCtr="0"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3" name="Текст 5"/>
          <p:cNvSpPr>
            <a:spLocks noGrp="1"/>
          </p:cNvSpPr>
          <p:nvPr>
            <p:ph type="body" sz="quarter" idx="26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487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вайд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225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331069"/>
            <a:ext cx="9906000" cy="850900"/>
          </a:xfrm>
          <a:prstGeom prst="rect">
            <a:avLst/>
          </a:prstGeom>
          <a:solidFill>
            <a:schemeClr val="accent1"/>
          </a:solidFill>
        </p:spPr>
        <p:txBody>
          <a:bodyPr lIns="360000" tIns="72000" rIns="360000" bIns="108000" anchor="ctr" anchorCtr="0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600" b="0">
                <a:solidFill>
                  <a:schemeClr val="accent5"/>
                </a:solidFill>
                <a:latin typeface="+mj-lt"/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5638800"/>
            <a:ext cx="9907200" cy="1219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1" name="Rectangle 6"/>
          <p:cNvSpPr/>
          <p:nvPr/>
        </p:nvSpPr>
        <p:spPr>
          <a:xfrm>
            <a:off x="0" y="4227413"/>
            <a:ext cx="9906000" cy="378143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571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476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рямоугольник 24"/>
          <p:cNvSpPr/>
          <p:nvPr userDrawn="1"/>
        </p:nvSpPr>
        <p:spPr>
          <a:xfrm>
            <a:off x="0" y="5638800"/>
            <a:ext cx="9907200" cy="1219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Контактная информация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 rotWithShape="1">
          <a:blip r:embed="rId6"/>
          <a:srcRect r="11420"/>
          <a:stretch/>
        </p:blipFill>
        <p:spPr>
          <a:xfrm>
            <a:off x="4941257" y="0"/>
            <a:ext cx="4964743" cy="6858000"/>
          </a:xfrm>
          <a:prstGeom prst="rect">
            <a:avLst/>
          </a:prstGeom>
        </p:spPr>
      </p:pic>
      <p:sp>
        <p:nvSpPr>
          <p:cNvPr id="35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93000" y="2836069"/>
            <a:ext cx="925513" cy="1185863"/>
          </a:xfr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Фото</a:t>
            </a:r>
            <a:endParaRPr lang="en-US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205389" y="2836069"/>
            <a:ext cx="3735268" cy="1185863"/>
          </a:xfrm>
          <a:ln>
            <a:noFill/>
          </a:ln>
        </p:spPr>
        <p:txBody>
          <a:bodyPr wrap="square" anchor="ctr" anchorCtr="0">
            <a:noAutofit/>
          </a:bodyPr>
          <a:lstStyle>
            <a:lvl1pPr>
              <a:spcAft>
                <a:spcPts val="500"/>
              </a:spcAft>
              <a:defRPr sz="1200">
                <a:solidFill>
                  <a:schemeClr val="accent5"/>
                </a:solidFill>
              </a:defRPr>
            </a:lvl1pPr>
            <a:lvl2pPr marL="0" indent="0">
              <a:spcAft>
                <a:spcPts val="500"/>
              </a:spcAft>
              <a:buFont typeface="Wingdings" panose="05000000000000000000" pitchFamily="2" charset="2"/>
              <a:buNone/>
              <a:defRPr sz="1200" b="0" baseline="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Имя Фамилия</a:t>
            </a:r>
            <a:endParaRPr lang="en-US" dirty="0"/>
          </a:p>
          <a:p>
            <a:pPr lvl="1"/>
            <a:r>
              <a:rPr lang="ru-RU" dirty="0"/>
              <a:t>Занимаемая должность</a:t>
            </a:r>
            <a:endParaRPr lang="en-US" dirty="0"/>
          </a:p>
          <a:p>
            <a:pPr lvl="1"/>
            <a:r>
              <a:rPr lang="ru-RU" dirty="0"/>
              <a:t>Практика</a:t>
            </a:r>
            <a:endParaRPr lang="en-US" dirty="0"/>
          </a:p>
          <a:p>
            <a:pPr lvl="1"/>
            <a:r>
              <a:rPr lang="ru-RU" dirty="0"/>
              <a:t>Телефон</a:t>
            </a:r>
          </a:p>
          <a:p>
            <a:pPr lvl="1"/>
            <a:r>
              <a:rPr lang="ru-RU" dirty="0"/>
              <a:t>Почта</a:t>
            </a:r>
            <a:endParaRPr lang="en-US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6353175" y="5292125"/>
            <a:ext cx="3552825" cy="592931"/>
          </a:xfrm>
          <a:prstGeom prst="rect">
            <a:avLst/>
          </a:prstGeom>
          <a:solidFill>
            <a:srgbClr val="50000F">
              <a:alpha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9" name="Text Box 37">
            <a:extLst>
              <a:ext uri="{FF2B5EF4-FFF2-40B4-BE49-F238E27FC236}">
                <a16:creationId xmlns:a16="http://schemas.microsoft.com/office/drawing/2014/main" id="{F2FDD855-90A6-4BAA-A3E1-AE8B049DAD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91587" y="5416110"/>
            <a:ext cx="327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</a:rPr>
              <a:t>Россия, 11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50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54, Москва, Космодамианская наб., д. 52, стр. 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2</a:t>
            </a:r>
            <a:endParaRPr lang="ru-RU" sz="9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77139" y="5622571"/>
            <a:ext cx="93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+mj-lt"/>
              </a:rPr>
              <a:t>inbox@strategy.ru</a:t>
            </a:r>
          </a:p>
        </p:txBody>
      </p:sp>
      <p:sp>
        <p:nvSpPr>
          <p:cNvPr id="44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0131" y="5622571"/>
            <a:ext cx="900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</a:rPr>
              <a:t>+7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495 730</a:t>
            </a:r>
            <a:r>
              <a:rPr lang="en-US" sz="9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77</a:t>
            </a:r>
            <a:r>
              <a:rPr lang="en-US" sz="9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47</a:t>
            </a:r>
          </a:p>
        </p:txBody>
      </p:sp>
      <p:sp>
        <p:nvSpPr>
          <p:cNvPr id="47" name="Text Box 37">
            <a:extLst>
              <a:ext uri="{FF2B5EF4-FFF2-40B4-BE49-F238E27FC236}">
                <a16:creationId xmlns:a16="http://schemas.microsoft.com/office/drawing/2014/main" id="{7E7FB062-F954-48D2-BA3C-C4C8718B59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940609" y="5622571"/>
            <a:ext cx="8269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+mj-lt"/>
              </a:rPr>
              <a:t>www.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strategy.ru</a:t>
            </a:r>
          </a:p>
        </p:txBody>
      </p:sp>
      <p:pic>
        <p:nvPicPr>
          <p:cNvPr id="26" name="Рисунок 25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2062" y="5636213"/>
            <a:ext cx="111125" cy="111125"/>
          </a:xfrm>
          <a:prstGeom prst="rect">
            <a:avLst/>
          </a:prstGeom>
        </p:spPr>
      </p:pic>
      <p:pic>
        <p:nvPicPr>
          <p:cNvPr id="31" name="Рисунок 30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0188" y="5636213"/>
            <a:ext cx="111125" cy="111125"/>
          </a:xfrm>
          <a:prstGeom prst="rect">
            <a:avLst/>
          </a:prstGeom>
        </p:spPr>
      </p:pic>
      <p:pic>
        <p:nvPicPr>
          <p:cNvPr id="33" name="Рисунок 32"/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7268" y="5636213"/>
            <a:ext cx="111125" cy="11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436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616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Прямоугольник 33"/>
          <p:cNvSpPr/>
          <p:nvPr userDrawn="1"/>
        </p:nvSpPr>
        <p:spPr>
          <a:xfrm>
            <a:off x="0" y="5638800"/>
            <a:ext cx="9907200" cy="1219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Контактная информация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 rotWithShape="1">
          <a:blip r:embed="rId6"/>
          <a:srcRect r="11420"/>
          <a:stretch/>
        </p:blipFill>
        <p:spPr>
          <a:xfrm>
            <a:off x="4941257" y="0"/>
            <a:ext cx="4964743" cy="6858000"/>
          </a:xfrm>
          <a:prstGeom prst="rect">
            <a:avLst/>
          </a:prstGeom>
        </p:spPr>
      </p:pic>
      <p:sp>
        <p:nvSpPr>
          <p:cNvPr id="35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93000" y="3549537"/>
            <a:ext cx="925513" cy="1185863"/>
          </a:xfr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Фото</a:t>
            </a:r>
            <a:endParaRPr lang="en-US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205389" y="3549537"/>
            <a:ext cx="3735268" cy="1185863"/>
          </a:xfrm>
          <a:ln>
            <a:noFill/>
          </a:ln>
        </p:spPr>
        <p:txBody>
          <a:bodyPr wrap="square" anchor="ctr" anchorCtr="0">
            <a:noAutofit/>
          </a:bodyPr>
          <a:lstStyle>
            <a:lvl1pPr>
              <a:spcAft>
                <a:spcPts val="500"/>
              </a:spcAft>
              <a:defRPr sz="1200">
                <a:solidFill>
                  <a:schemeClr val="accent5"/>
                </a:solidFill>
              </a:defRPr>
            </a:lvl1pPr>
            <a:lvl2pPr marL="0" indent="0">
              <a:spcAft>
                <a:spcPts val="500"/>
              </a:spcAft>
              <a:buFont typeface="Wingdings" panose="05000000000000000000" pitchFamily="2" charset="2"/>
              <a:buNone/>
              <a:defRPr sz="1200" b="0" baseline="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Имя Фамилия</a:t>
            </a:r>
            <a:endParaRPr lang="en-US" dirty="0"/>
          </a:p>
          <a:p>
            <a:pPr lvl="1"/>
            <a:r>
              <a:rPr lang="ru-RU" dirty="0"/>
              <a:t>Занимаемая должность</a:t>
            </a:r>
            <a:endParaRPr lang="en-US" dirty="0"/>
          </a:p>
          <a:p>
            <a:pPr lvl="1"/>
            <a:r>
              <a:rPr lang="ru-RU" dirty="0"/>
              <a:t>Практика</a:t>
            </a:r>
            <a:endParaRPr lang="en-US" dirty="0"/>
          </a:p>
          <a:p>
            <a:pPr lvl="1"/>
            <a:r>
              <a:rPr lang="ru-RU" dirty="0"/>
              <a:t>Телефон</a:t>
            </a:r>
          </a:p>
          <a:p>
            <a:pPr lvl="1"/>
            <a:r>
              <a:rPr lang="ru-RU" dirty="0"/>
              <a:t>Почта</a:t>
            </a:r>
            <a:endParaRPr lang="en-US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6353175" y="5292125"/>
            <a:ext cx="3552825" cy="592931"/>
          </a:xfrm>
          <a:prstGeom prst="rect">
            <a:avLst/>
          </a:prstGeom>
          <a:solidFill>
            <a:srgbClr val="50000F">
              <a:alpha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9" name="Text Box 37">
            <a:extLst>
              <a:ext uri="{FF2B5EF4-FFF2-40B4-BE49-F238E27FC236}">
                <a16:creationId xmlns:a16="http://schemas.microsoft.com/office/drawing/2014/main" id="{F2FDD855-90A6-4BAA-A3E1-AE8B049DAD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91587" y="5416110"/>
            <a:ext cx="327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</a:rPr>
              <a:t>Россия, 11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50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54, Москва, Космодамианская наб., д. 52, стр. 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2</a:t>
            </a:r>
            <a:endParaRPr lang="ru-RU" sz="9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77139" y="5622571"/>
            <a:ext cx="93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+mj-lt"/>
              </a:rPr>
              <a:t>inbox@strategy.ru</a:t>
            </a:r>
          </a:p>
        </p:txBody>
      </p:sp>
      <p:sp>
        <p:nvSpPr>
          <p:cNvPr id="44" name="Text Box 37">
            <a:extLst>
              <a:ext uri="{FF2B5EF4-FFF2-40B4-BE49-F238E27FC236}">
                <a16:creationId xmlns:a16="http://schemas.microsoft.com/office/drawing/2014/main" id="{021D4978-172A-4F5B-9C09-B25C181195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0131" y="5622571"/>
            <a:ext cx="900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+mj-lt"/>
              </a:rPr>
              <a:t>+7</a:t>
            </a:r>
            <a:r>
              <a:rPr lang="en-US" sz="90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495 730</a:t>
            </a:r>
            <a:r>
              <a:rPr lang="en-US" sz="9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77</a:t>
            </a:r>
            <a:r>
              <a:rPr lang="en-US" sz="900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47</a:t>
            </a:r>
          </a:p>
        </p:txBody>
      </p:sp>
      <p:sp>
        <p:nvSpPr>
          <p:cNvPr id="47" name="Text Box 37">
            <a:extLst>
              <a:ext uri="{FF2B5EF4-FFF2-40B4-BE49-F238E27FC236}">
                <a16:creationId xmlns:a16="http://schemas.microsoft.com/office/drawing/2014/main" id="{7E7FB062-F954-48D2-BA3C-C4C8718B59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940609" y="5622571"/>
            <a:ext cx="8269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+mj-lt"/>
              </a:rPr>
              <a:t>www.</a:t>
            </a:r>
            <a:r>
              <a:rPr lang="ru-RU" sz="900" dirty="0">
                <a:solidFill>
                  <a:schemeClr val="bg1"/>
                </a:solidFill>
                <a:latin typeface="+mj-lt"/>
              </a:rPr>
              <a:t>strategy.ru</a:t>
            </a:r>
          </a:p>
        </p:txBody>
      </p:sp>
      <p:pic>
        <p:nvPicPr>
          <p:cNvPr id="26" name="Рисунок 25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2062" y="5636213"/>
            <a:ext cx="111125" cy="111125"/>
          </a:xfrm>
          <a:prstGeom prst="rect">
            <a:avLst/>
          </a:prstGeom>
        </p:spPr>
      </p:pic>
      <p:pic>
        <p:nvPicPr>
          <p:cNvPr id="31" name="Рисунок 30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0188" y="5636213"/>
            <a:ext cx="111125" cy="111125"/>
          </a:xfrm>
          <a:prstGeom prst="rect">
            <a:avLst/>
          </a:prstGeom>
        </p:spPr>
      </p:pic>
      <p:pic>
        <p:nvPicPr>
          <p:cNvPr id="33" name="Рисунок 32"/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7268" y="5636213"/>
            <a:ext cx="111125" cy="111125"/>
          </a:xfrm>
          <a:prstGeom prst="rect">
            <a:avLst/>
          </a:prstGeom>
        </p:spPr>
      </p:pic>
      <p:sp>
        <p:nvSpPr>
          <p:cNvPr id="2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93000" y="2122601"/>
            <a:ext cx="925513" cy="1185863"/>
          </a:xfr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rIns="7200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Фото</a:t>
            </a:r>
            <a:endParaRPr lang="en-US" dirty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205389" y="2122601"/>
            <a:ext cx="3735268" cy="1185863"/>
          </a:xfrm>
          <a:ln>
            <a:noFill/>
          </a:ln>
        </p:spPr>
        <p:txBody>
          <a:bodyPr wrap="square" anchor="ctr" anchorCtr="0">
            <a:noAutofit/>
          </a:bodyPr>
          <a:lstStyle>
            <a:lvl1pPr>
              <a:spcAft>
                <a:spcPts val="500"/>
              </a:spcAft>
              <a:defRPr sz="1200">
                <a:solidFill>
                  <a:schemeClr val="accent5"/>
                </a:solidFill>
              </a:defRPr>
            </a:lvl1pPr>
            <a:lvl2pPr marL="0" indent="0">
              <a:spcAft>
                <a:spcPts val="500"/>
              </a:spcAft>
              <a:buFont typeface="Wingdings" panose="05000000000000000000" pitchFamily="2" charset="2"/>
              <a:buNone/>
              <a:defRPr sz="1200" b="0" baseline="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Имя Фамилия</a:t>
            </a:r>
            <a:endParaRPr lang="en-US" dirty="0"/>
          </a:p>
          <a:p>
            <a:pPr lvl="1"/>
            <a:r>
              <a:rPr lang="ru-RU" dirty="0"/>
              <a:t>Занимаемая должность</a:t>
            </a:r>
            <a:endParaRPr lang="en-US" dirty="0"/>
          </a:p>
          <a:p>
            <a:pPr lvl="1"/>
            <a:r>
              <a:rPr lang="ru-RU" dirty="0"/>
              <a:t>Практика</a:t>
            </a:r>
            <a:endParaRPr lang="en-US" dirty="0"/>
          </a:p>
          <a:p>
            <a:pPr lvl="1"/>
            <a:r>
              <a:rPr lang="ru-RU" dirty="0"/>
              <a:t>Телефон</a:t>
            </a:r>
          </a:p>
          <a:p>
            <a:pPr lvl="1"/>
            <a:r>
              <a:rPr lang="ru-RU" dirty="0"/>
              <a:t>Поч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9435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436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0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869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769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3945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92999" y="945238"/>
            <a:ext cx="9720000" cy="5400000"/>
          </a:xfrm>
        </p:spPr>
        <p:txBody>
          <a:bodyPr>
            <a:noAutofit/>
          </a:bodyPr>
          <a:lstStyle>
            <a:lvl1pPr>
              <a:defRPr/>
            </a:lvl1pPr>
            <a:lvl2pPr marL="144000" indent="-144000">
              <a:buFont typeface="+mj-lt"/>
              <a:buAutoNum type="arabicPeriod"/>
              <a:defRPr/>
            </a:lvl2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1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246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'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41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9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92999" y="945238"/>
            <a:ext cx="9720000" cy="5400000"/>
          </a:xfrm>
          <a:ln>
            <a:noFill/>
          </a:ln>
        </p:spPr>
        <p:txBody>
          <a:bodyPr>
            <a:noAutofit/>
          </a:bodyPr>
          <a:lstStyle>
            <a:lvl1pPr>
              <a:defRPr/>
            </a:lvl1pPr>
            <a:lvl2pPr marL="144000" indent="-144000">
              <a:buFont typeface="Wingdings" panose="05000000000000000000" pitchFamily="2" charset="2"/>
              <a:buChar char="§"/>
              <a:defRPr/>
            </a:lvl2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1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899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0768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2869" y="1125238"/>
            <a:ext cx="468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133000" y="1125238"/>
            <a:ext cx="468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86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827841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3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412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635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8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2870" y="1125238"/>
            <a:ext cx="630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753000" y="1125238"/>
            <a:ext cx="306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67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3784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5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499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'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598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7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0" y="1125238"/>
            <a:ext cx="486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252000" tIns="288000" rIns="72000" bIns="72000">
            <a:noAutofit/>
          </a:bodyPr>
          <a:lstStyle>
            <a:lvl2pPr>
              <a:defRPr/>
            </a:lvl2pPr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 </a:t>
            </a:r>
            <a:endParaRPr lang="en-US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77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2868" y="1125238"/>
            <a:ext cx="5040000" cy="5220000"/>
          </a:xfrm>
          <a:prstGeom prst="homePlate">
            <a:avLst>
              <a:gd name="adj" fmla="val 6406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841705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401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203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0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2869" y="1125238"/>
            <a:ext cx="468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827841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5133000" y="400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6867972" y="3892951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133000" y="112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86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20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536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0523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869" y="82012"/>
            <a:ext cx="9720263" cy="1692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accent5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869" y="6365682"/>
            <a:ext cx="9720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133000" y="1125238"/>
            <a:ext cx="4680000" cy="522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86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  <a:endParaRPr lang="en-US" dirty="0"/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93000" y="400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1827972" y="3892951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93000" y="1125238"/>
            <a:ext cx="4680000" cy="2340000"/>
          </a:xfrm>
          <a:solidFill>
            <a:schemeClr val="bg1"/>
          </a:solidFill>
          <a:ln w="9525">
            <a:solidFill>
              <a:schemeClr val="accent3"/>
            </a:solidFill>
          </a:ln>
        </p:spPr>
        <p:txBody>
          <a:bodyPr lIns="72000" tIns="288000" rIns="72000" bIns="72000">
            <a:noAutofit/>
          </a:bodyPr>
          <a:lstStyle>
            <a:lvl4pPr>
              <a:defRPr/>
            </a:lvl4pPr>
          </a:lstStyle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1827972" y="1017266"/>
            <a:ext cx="1210057" cy="215444"/>
          </a:xfrm>
          <a:solidFill>
            <a:schemeClr val="bg1"/>
          </a:solidFill>
        </p:spPr>
        <p:txBody>
          <a:bodyPr wrap="none" lIns="72000" tIns="0" rIns="72000" bIns="0" anchor="ctr" anchorCtr="0">
            <a:sp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3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92868" y="6626751"/>
            <a:ext cx="7740650" cy="138499"/>
          </a:xfrm>
        </p:spPr>
        <p:txBody>
          <a:bodyPr anchor="ctr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тика </a:t>
            </a:r>
            <a:r>
              <a:rPr lang="en-US" dirty="0"/>
              <a:t>SPG</a:t>
            </a:r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3718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6ABB0028-3C18-4871-A0BC-367619F943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03153856"/>
              </p:ext>
            </p:extLst>
          </p:nvPr>
        </p:nvGraphicFramePr>
        <p:xfrm>
          <a:off x="1472" y="1441"/>
          <a:ext cx="147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" name="think-cell Slide" r:id="rId19" imgW="384" imgH="384" progId="TCLayout.ActiveDocument.1">
                  <p:embed/>
                </p:oleObj>
              </mc:Choice>
              <mc:Fallback>
                <p:oleObj name="think-cell Slide" r:id="rId19" imgW="384" imgH="38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ED73B40E-121B-4BF3-9551-97ECC1610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472" y="1441"/>
                        <a:ext cx="147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олилиния: фигура 21">
            <a:extLst>
              <a:ext uri="{FF2B5EF4-FFF2-40B4-BE49-F238E27FC236}">
                <a16:creationId xmlns:a16="http://schemas.microsoft.com/office/drawing/2014/main" id="{746EC808-CB49-49E4-8B51-D5E5110F76A6}"/>
              </a:ext>
            </a:extLst>
          </p:cNvPr>
          <p:cNvSpPr/>
          <p:nvPr userDrawn="1"/>
        </p:nvSpPr>
        <p:spPr>
          <a:xfrm>
            <a:off x="-600" y="6534150"/>
            <a:ext cx="9907200" cy="3238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9541537" y="6626826"/>
            <a:ext cx="271463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3E423E46-B7A0-4744-B3E1-320992BDBEC7}" type="slidenum">
              <a:rPr lang="ru-RU" sz="900" b="0" smtClean="0">
                <a:solidFill>
                  <a:schemeClr val="accent3"/>
                </a:solidFill>
              </a:rPr>
              <a:pPr algn="r"/>
              <a:t>‹#›</a:t>
            </a:fld>
            <a:endParaRPr lang="ru-RU" sz="900" b="0" dirty="0">
              <a:solidFill>
                <a:schemeClr val="accent3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93000" y="945238"/>
            <a:ext cx="9720000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dirty="0"/>
              <a:t>Образец текста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  <a:endParaRPr lang="en-US" dirty="0"/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93000" y="271516"/>
            <a:ext cx="97200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Вывод слайда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988423" y="6626826"/>
            <a:ext cx="1399422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900" b="0" dirty="0">
                <a:solidFill>
                  <a:schemeClr val="accent3"/>
                </a:solidFill>
              </a:rPr>
              <a:t>©</a:t>
            </a:r>
            <a:r>
              <a:rPr lang="ru-RU" sz="900" b="0" dirty="0">
                <a:solidFill>
                  <a:schemeClr val="accent3"/>
                </a:solidFill>
              </a:rPr>
              <a:t> </a:t>
            </a:r>
            <a:r>
              <a:rPr lang="en-US" sz="900" b="0" dirty="0">
                <a:solidFill>
                  <a:schemeClr val="accent3"/>
                </a:solidFill>
              </a:rPr>
              <a:t>Strategy Partners Group </a:t>
            </a:r>
            <a:endParaRPr lang="ru-RU" sz="900" b="0" dirty="0">
              <a:solidFill>
                <a:schemeClr val="accent3"/>
              </a:solidFill>
            </a:endParaRPr>
          </a:p>
        </p:txBody>
      </p:sp>
      <p:sp>
        <p:nvSpPr>
          <p:cNvPr id="3" name="Нашивка 2"/>
          <p:cNvSpPr/>
          <p:nvPr userDrawn="1"/>
        </p:nvSpPr>
        <p:spPr>
          <a:xfrm>
            <a:off x="9391204" y="6534150"/>
            <a:ext cx="146974" cy="323850"/>
          </a:xfrm>
          <a:prstGeom prst="chevron">
            <a:avLst>
              <a:gd name="adj" fmla="val 56684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732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76" r:id="rId2"/>
    <p:sldLayoutId id="2147483677" r:id="rId3"/>
    <p:sldLayoutId id="2147483701" r:id="rId4"/>
    <p:sldLayoutId id="2147483678" r:id="rId5"/>
    <p:sldLayoutId id="2147483696" r:id="rId6"/>
    <p:sldLayoutId id="2147483700" r:id="rId7"/>
    <p:sldLayoutId id="2147483697" r:id="rId8"/>
    <p:sldLayoutId id="2147483698" r:id="rId9"/>
    <p:sldLayoutId id="2147483699" r:id="rId10"/>
    <p:sldLayoutId id="2147483681" r:id="rId11"/>
    <p:sldLayoutId id="2147483680" r:id="rId12"/>
    <p:sldLayoutId id="2147483704" r:id="rId13"/>
    <p:sldLayoutId id="2147483702" r:id="rId14"/>
    <p:sldLayoutId id="2147483703" r:id="rId15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18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Wingdings" panose="05000000000000000000" pitchFamily="2" charset="2"/>
        <a:buNone/>
        <a:defRPr lang="ru-RU" sz="14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Wingdings" panose="05000000000000000000" pitchFamily="2" charset="2"/>
        <a:buChar char="§"/>
        <a:defRPr lang="ru-RU" sz="140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−"/>
        <a:defRPr lang="ru-RU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▫"/>
        <a:defRPr lang="ru-RU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Arial" panose="020B0604020202020204" pitchFamily="34" charset="0"/>
        <a:buChar char="-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95" userDrawn="1">
          <p15:clr>
            <a:srgbClr val="F26B43"/>
          </p15:clr>
        </p15:guide>
        <p15:guide id="2" pos="58" userDrawn="1">
          <p15:clr>
            <a:srgbClr val="F26B43"/>
          </p15:clr>
        </p15:guide>
        <p15:guide id="3" pos="6182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ield 1"/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2354263" y="4799013"/>
            <a:ext cx="149225" cy="212725"/>
          </a:xfrm>
          <a:prstGeom prst="rect">
            <a:avLst/>
          </a:prstGeom>
          <a:solidFill>
            <a:srgbClr val="7A1600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Wingdings" panose="05000000000000000000" pitchFamily="2" charset="2"/>
              <a:buNone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defRPr lang="ru-RU" sz="1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−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▫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-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3257C9F9-3F77-4F91-9B5B-8509C1AD1FE0}" type="datetime'''''''''''''''''''''''''''''''''''''''4'''">
              <a:rPr lang="ru-RU" altLang="en-US">
                <a:solidFill>
                  <a:schemeClr val="bg1"/>
                </a:solidFill>
                <a:sym typeface="+mn-lt"/>
              </a:rPr>
              <a:pPr marL="0" lvl="2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ru-RU" dirty="0">
              <a:solidFill>
                <a:schemeClr val="bg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2534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3&quot;&gt;&lt;elem m_fUsage=&quot;1.38742048900000014555E+00&quot;&gt;&lt;m_msothmcolidx val=&quot;0&quot;/&gt;&lt;m_rgb r=&quot;0F&quot; g=&quot;69&quot; b=&quot;73&quot;/&gt;&lt;m_nBrightness val=&quot;0&quot;/&gt;&lt;/elem&gt;&lt;elem m_fUsage=&quot;1.24046721000000004231E+00&quot;&gt;&lt;m_msothmcolidx val=&quot;0&quot;/&gt;&lt;m_rgb r=&quot;3C&quot; g=&quot;4F&quot; b=&quot;13&quot;/&gt;&lt;m_nBrightness val=&quot;0&quot;/&gt;&lt;/elem&gt;&lt;elem m_fUsage=&quot;1.07767844010000013455E+00&quot;&gt;&lt;m_msothmcolidx val=&quot;0&quot;/&gt;&lt;m_rgb r=&quot;48&quot; g=&quot;0D&quot; b=&quot;00&quot;/&gt;&lt;m_nBrightness val=&quot;0&quot;/&gt;&lt;/elem&gt;&lt;elem m_fUsage=&quot;1.00973789999999996603E+00&quot;&gt;&lt;m_msothmcolidx val=&quot;0&quot;/&gt;&lt;m_rgb r=&quot;00&quot; g=&quot;00&quot; b=&quot;33&quot;/&gt;&lt;m_nBrightness val=&quot;0&quot;/&gt;&lt;/elem&gt;&lt;elem m_fUsage=&quot;9.00000000000000022204E-01&quot;&gt;&lt;m_msothmcolidx val=&quot;0&quot;/&gt;&lt;m_rgb r=&quot;30&quot; g=&quot;40&quot; b=&quot;0F&quot;/&gt;&lt;m_nBrightness val=&quot;0&quot;/&gt;&lt;/elem&gt;&lt;elem m_fUsage=&quot;6.56100000000000127542E-01&quot;&gt;&lt;m_msothmcolidx val=&quot;0&quot;/&gt;&lt;m_rgb r=&quot;28&quot; g=&quot;28&quot; b=&quot;28&quot;/&gt;&lt;m_nBrightness val=&quot;0&quot;/&gt;&lt;/elem&gt;&lt;elem m_fUsage=&quot;5.90490000000000181402E-01&quot;&gt;&lt;m_msothmcolidx val=&quot;0&quot;/&gt;&lt;m_rgb r=&quot;31&quot; g=&quot;31&quot; b=&quot;31&quot;/&gt;&lt;m_nBrightness val=&quot;0&quot;/&gt;&lt;/elem&gt;&lt;elem m_fUsage=&quot;3.52073835881849872553E-01&quot;&gt;&lt;m_msothmcolidx val=&quot;0&quot;/&gt;&lt;m_rgb r=&quot;7F&quot; g=&quot;7F&quot; b=&quot;7F&quot;/&gt;&lt;m_nBrightness val=&quot;0&quot;/&gt;&lt;/elem&gt;&lt;elem m_fUsage=&quot;3.13810596090000171188E-01&quot;&gt;&lt;m_msothmcolidx val=&quot;0&quot;/&gt;&lt;m_rgb r=&quot;11&quot; g=&quot;75&quot; b=&quot;80&quot;/&gt;&lt;m_nBrightness val=&quot;0&quot;/&gt;&lt;/elem&gt;&lt;elem m_fUsage=&quot;2.82429536481000165171E-01&quot;&gt;&lt;m_msothmcolidx val=&quot;0&quot;/&gt;&lt;m_rgb r=&quot;00&quot; g=&quot;B0&quot; b=&quot;50&quot;/&gt;&lt;m_nBrightness val=&quot;0&quot;/&gt;&lt;/elem&gt;&lt;elem m_fUsage=&quot;2.54186582832900132001E-01&quot;&gt;&lt;m_msothmcolidx val=&quot;0&quot;/&gt;&lt;m_rgb r=&quot;C4&quot; g=&quot;22&quot; b=&quot;00&quot;/&gt;&lt;m_nBrightness val=&quot;0&quot;/&gt;&lt;/elem&gt;&lt;elem m_fUsage=&quot;2.28767924549610118801E-01&quot;&gt;&lt;m_msothmcolidx val=&quot;0&quot;/&gt;&lt;m_rgb r=&quot;50&quot; g=&quot;6A&quot; b=&quot;1A&quot;/&gt;&lt;m_nBrightness val=&quot;0&quot;/&gt;&lt;/elem&gt;&lt;elem m_fUsage=&quot;2.05891132094649098594E-01&quot;&gt;&lt;m_msothmcolidx val=&quot;0&quot;/&gt;&lt;m_rgb r=&quot;18&quot; g=&quot;A7&quot; b=&quot;B5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C1bJ7jRX2.IIObNQAg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Custom 30">
      <a:dk1>
        <a:srgbClr val="000000"/>
      </a:dk1>
      <a:lt1>
        <a:srgbClr val="FFFFFF"/>
      </a:lt1>
      <a:dk2>
        <a:srgbClr val="3C3C3C"/>
      </a:dk2>
      <a:lt2>
        <a:srgbClr val="FFFFFF"/>
      </a:lt2>
      <a:accent1>
        <a:srgbClr val="DCDCDC"/>
      </a:accent1>
      <a:accent2>
        <a:srgbClr val="AAAAAA"/>
      </a:accent2>
      <a:accent3>
        <a:srgbClr val="646464"/>
      </a:accent3>
      <a:accent4>
        <a:srgbClr val="3C3C3C"/>
      </a:accent4>
      <a:accent5>
        <a:srgbClr val="7A1600"/>
      </a:accent5>
      <a:accent6>
        <a:srgbClr val="5B1000"/>
      </a:accent6>
      <a:hlink>
        <a:srgbClr val="18A7B5"/>
      </a:hlink>
      <a:folHlink>
        <a:srgbClr val="506A1A"/>
      </a:folHlink>
    </a:clrScheme>
    <a:fontScheme name="Player #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9525">
          <a:solidFill>
            <a:schemeClr val="accent3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none" lIns="0" tIns="0" rIns="0" bIns="0" numCol="1" rtlCol="0" anchor="t" anchorCtr="0" compatLnSpc="1">
        <a:prstTxWarp prst="textNoShape">
          <a:avLst/>
        </a:prstTxWarp>
        <a:spAutoFit/>
      </a:bodyPr>
      <a:lstStyle>
        <a:defPPr marL="144000" indent="-144000" defTabSz="914400">
          <a:buClr>
            <a:schemeClr val="accent5"/>
          </a:buClr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</Words>
  <Application>Microsoft Office PowerPoint</Application>
  <PresentationFormat>A4 Paper (210x297 mm)</PresentationFormat>
  <Paragraphs>1</Paragraphs>
  <Slides>1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Тема Offic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DMIN</dc:creator>
  <cp:lastModifiedBy>Shakhabov, Adam (ext)</cp:lastModifiedBy>
  <cp:revision>742</cp:revision>
  <cp:lastPrinted>2017-08-30T07:25:59Z</cp:lastPrinted>
  <dcterms:created xsi:type="dcterms:W3CDTF">2017-07-18T18:24:40Z</dcterms:created>
  <dcterms:modified xsi:type="dcterms:W3CDTF">2022-10-03T10:23:20Z</dcterms:modified>
</cp:coreProperties>
</file>